
<file path=[Content_Types].xml><?xml version="1.0" encoding="utf-8"?>
<Types xmlns="http://schemas.openxmlformats.org/package/2006/content-types">
  <Default Extension="(null)" ContentType="image/x-emf"/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0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62" r:id="rId5"/>
    <p:sldMasterId id="2147483670" r:id="rId6"/>
    <p:sldMasterId id="2147483683" r:id="rId7"/>
    <p:sldMasterId id="2147483694" r:id="rId8"/>
    <p:sldMasterId id="2147483735" r:id="rId9"/>
    <p:sldMasterId id="2147483775" r:id="rId10"/>
    <p:sldMasterId id="2147483790" r:id="rId11"/>
    <p:sldMasterId id="2147483814" r:id="rId12"/>
    <p:sldMasterId id="2147483834" r:id="rId13"/>
    <p:sldMasterId id="2147483934" r:id="rId14"/>
  </p:sldMasterIdLst>
  <p:notesMasterIdLst>
    <p:notesMasterId r:id="rId52"/>
  </p:notesMasterIdLst>
  <p:handoutMasterIdLst>
    <p:handoutMasterId r:id="rId53"/>
  </p:handoutMasterIdLst>
  <p:sldIdLst>
    <p:sldId id="333" r:id="rId15"/>
    <p:sldId id="8307" r:id="rId16"/>
    <p:sldId id="8280" r:id="rId17"/>
    <p:sldId id="8265" r:id="rId18"/>
    <p:sldId id="8305" r:id="rId19"/>
    <p:sldId id="8259" r:id="rId20"/>
    <p:sldId id="8306" r:id="rId21"/>
    <p:sldId id="8298" r:id="rId22"/>
    <p:sldId id="8275" r:id="rId23"/>
    <p:sldId id="8294" r:id="rId24"/>
    <p:sldId id="8293" r:id="rId25"/>
    <p:sldId id="8291" r:id="rId26"/>
    <p:sldId id="8297" r:id="rId27"/>
    <p:sldId id="8292" r:id="rId28"/>
    <p:sldId id="8287" r:id="rId29"/>
    <p:sldId id="8267" r:id="rId30"/>
    <p:sldId id="8318" r:id="rId31"/>
    <p:sldId id="8279" r:id="rId32"/>
    <p:sldId id="8308" r:id="rId33"/>
    <p:sldId id="8302" r:id="rId34"/>
    <p:sldId id="8299" r:id="rId35"/>
    <p:sldId id="8290" r:id="rId36"/>
    <p:sldId id="8312" r:id="rId37"/>
    <p:sldId id="8319" r:id="rId38"/>
    <p:sldId id="8282" r:id="rId39"/>
    <p:sldId id="8296" r:id="rId40"/>
    <p:sldId id="8317" r:id="rId41"/>
    <p:sldId id="8283" r:id="rId42"/>
    <p:sldId id="8315" r:id="rId43"/>
    <p:sldId id="8316" r:id="rId44"/>
    <p:sldId id="8314" r:id="rId45"/>
    <p:sldId id="8300" r:id="rId46"/>
    <p:sldId id="8313" r:id="rId47"/>
    <p:sldId id="8295" r:id="rId48"/>
    <p:sldId id="8320" r:id="rId49"/>
    <p:sldId id="8288" r:id="rId50"/>
    <p:sldId id="8321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4FB64F-3147-4393-AC5D-70E5AC3555AE}">
          <p14:sldIdLst>
            <p14:sldId id="333"/>
            <p14:sldId id="8307"/>
            <p14:sldId id="8280"/>
            <p14:sldId id="8265"/>
            <p14:sldId id="8305"/>
            <p14:sldId id="8259"/>
            <p14:sldId id="8306"/>
            <p14:sldId id="8298"/>
            <p14:sldId id="8275"/>
            <p14:sldId id="8294"/>
            <p14:sldId id="8293"/>
            <p14:sldId id="8291"/>
            <p14:sldId id="8297"/>
            <p14:sldId id="8292"/>
            <p14:sldId id="8287"/>
            <p14:sldId id="8267"/>
            <p14:sldId id="8318"/>
            <p14:sldId id="8279"/>
            <p14:sldId id="8308"/>
            <p14:sldId id="8302"/>
            <p14:sldId id="8299"/>
          </p14:sldIdLst>
        </p14:section>
        <p14:section name="Appendix" id="{EE79C51F-BCB3-48AA-85E6-CCEB07F78F6B}">
          <p14:sldIdLst>
            <p14:sldId id="8290"/>
            <p14:sldId id="8312"/>
            <p14:sldId id="8319"/>
            <p14:sldId id="8282"/>
            <p14:sldId id="8296"/>
            <p14:sldId id="8317"/>
            <p14:sldId id="8283"/>
            <p14:sldId id="8315"/>
            <p14:sldId id="8316"/>
            <p14:sldId id="8314"/>
            <p14:sldId id="8300"/>
            <p14:sldId id="8313"/>
            <p14:sldId id="8295"/>
            <p14:sldId id="8320"/>
            <p14:sldId id="8288"/>
            <p14:sldId id="83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Johnson" initials="CJ" lastIdx="4" clrIdx="0">
    <p:extLst>
      <p:ext uri="{19B8F6BF-5375-455C-9EA6-DF929625EA0E}">
        <p15:presenceInfo xmlns:p15="http://schemas.microsoft.com/office/powerpoint/2012/main" userId="S::chrjohns@microsoft.com::7d4380b0-a857-4d2f-82de-d06e3a2e59a5" providerId="AD"/>
      </p:ext>
    </p:extLst>
  </p:cmAuthor>
  <p:cmAuthor id="2" name="James Denyer" initials="JD" lastIdx="98" clrIdx="1">
    <p:extLst>
      <p:ext uri="{19B8F6BF-5375-455C-9EA6-DF929625EA0E}">
        <p15:presenceInfo xmlns:p15="http://schemas.microsoft.com/office/powerpoint/2012/main" userId="S::jadenyer@microsoft.com::a8fefdb3-dadc-4a35-8fa8-027d08895cb1" providerId="AD"/>
      </p:ext>
    </p:extLst>
  </p:cmAuthor>
  <p:cmAuthor id="3" name="Kurtis Beavers" initials="KB" lastIdx="30" clrIdx="2">
    <p:extLst>
      <p:ext uri="{19B8F6BF-5375-455C-9EA6-DF929625EA0E}">
        <p15:presenceInfo xmlns:p15="http://schemas.microsoft.com/office/powerpoint/2012/main" userId="S::kubeaver@microsoft.com::405209dd-b6fa-4044-906f-084c7fec2841" providerId="AD"/>
      </p:ext>
    </p:extLst>
  </p:cmAuthor>
  <p:cmAuthor id="4" name="Dan Fernandez" initials="DF" lastIdx="5" clrIdx="3">
    <p:extLst>
      <p:ext uri="{19B8F6BF-5375-455C-9EA6-DF929625EA0E}">
        <p15:presenceInfo xmlns:p15="http://schemas.microsoft.com/office/powerpoint/2012/main" userId="S::danielfe@corp.microsoft.com::47deeb2f-0502-4f5d-bed1-24e67ecfc891" providerId="AD"/>
      </p:ext>
    </p:extLst>
  </p:cmAuthor>
  <p:cmAuthor id="5" name="Erin Rifkin" initials="ER" lastIdx="15" clrIdx="4">
    <p:extLst>
      <p:ext uri="{19B8F6BF-5375-455C-9EA6-DF929625EA0E}">
        <p15:presenceInfo xmlns:p15="http://schemas.microsoft.com/office/powerpoint/2012/main" userId="S::erifkin@microsoft.com::94ca6041-e0d8-4f3e-bd5c-e8558d7a2db1" providerId="AD"/>
      </p:ext>
    </p:extLst>
  </p:cmAuthor>
  <p:cmAuthor id="6" name="Erin Jacobs" initials="EJ" lastIdx="11" clrIdx="5">
    <p:extLst>
      <p:ext uri="{19B8F6BF-5375-455C-9EA6-DF929625EA0E}">
        <p15:presenceInfo xmlns:p15="http://schemas.microsoft.com/office/powerpoint/2012/main" userId="S::edolan@microsoft.com::43287457-ed00-474a-b86a-2fa96ad3caab" providerId="AD"/>
      </p:ext>
    </p:extLst>
  </p:cmAuthor>
  <p:cmAuthor id="7" name="Julie-Anne Arsenault" initials="JA" lastIdx="8" clrIdx="6">
    <p:extLst>
      <p:ext uri="{19B8F6BF-5375-455C-9EA6-DF929625EA0E}">
        <p15:presenceInfo xmlns:p15="http://schemas.microsoft.com/office/powerpoint/2012/main" userId="S::julieaa@microsoft.com::adcf5eb8-74f0-4362-a5ec-2d69d936db55" providerId="AD"/>
      </p:ext>
    </p:extLst>
  </p:cmAuthor>
  <p:cmAuthor id="8" name="Selina Winter" initials="SW" lastIdx="12" clrIdx="7">
    <p:extLst>
      <p:ext uri="{19B8F6BF-5375-455C-9EA6-DF929625EA0E}">
        <p15:presenceInfo xmlns:p15="http://schemas.microsoft.com/office/powerpoint/2012/main" userId="S::sewinter@microsoft.com::bfce291d-8372-4ded-9006-bc93c179d133" providerId="AD"/>
      </p:ext>
    </p:extLst>
  </p:cmAuthor>
  <p:cmAuthor id="9" name="Allie Ello" initials="AE" lastIdx="3" clrIdx="8">
    <p:extLst>
      <p:ext uri="{19B8F6BF-5375-455C-9EA6-DF929625EA0E}">
        <p15:presenceInfo xmlns:p15="http://schemas.microsoft.com/office/powerpoint/2012/main" userId="S-1-5-21-2127521184-1604012920-1887927527-20043720" providerId="AD"/>
      </p:ext>
    </p:extLst>
  </p:cmAuthor>
  <p:cmAuthor id="10" name="Katie Hasbargen" initials="KH" lastIdx="6" clrIdx="9">
    <p:extLst>
      <p:ext uri="{19B8F6BF-5375-455C-9EA6-DF929625EA0E}">
        <p15:presenceInfo xmlns:p15="http://schemas.microsoft.com/office/powerpoint/2012/main" userId="S::khasbarg@microsoft.com::7428c89e-437c-4385-a841-2e7afbeecd59" providerId="AD"/>
      </p:ext>
    </p:extLst>
  </p:cmAuthor>
  <p:cmAuthor id="11" name="Kim Kamolz (Experis)" initials="KK(" lastIdx="8" clrIdx="10">
    <p:extLst>
      <p:ext uri="{19B8F6BF-5375-455C-9EA6-DF929625EA0E}">
        <p15:presenceInfo xmlns:p15="http://schemas.microsoft.com/office/powerpoint/2012/main" userId="S::v-kikamo@microsoft.com::c6c6ba58-5573-44ae-8e86-e6f70179d864" providerId="AD"/>
      </p:ext>
    </p:extLst>
  </p:cmAuthor>
  <p:cmAuthor id="12" name="Luke Nyswonger" initials="LN" lastIdx="28" clrIdx="11">
    <p:extLst>
      <p:ext uri="{19B8F6BF-5375-455C-9EA6-DF929625EA0E}">
        <p15:presenceInfo xmlns:p15="http://schemas.microsoft.com/office/powerpoint/2012/main" userId="S::luken@microsoft.com::326e656b-32e4-4f1c-ba74-1c58dbcbb3d0" providerId="AD"/>
      </p:ext>
    </p:extLst>
  </p:cmAuthor>
  <p:cmAuthor id="13" name="Mei Liang" initials="ML" lastIdx="5" clrIdx="12">
    <p:extLst>
      <p:ext uri="{19B8F6BF-5375-455C-9EA6-DF929625EA0E}">
        <p15:presenceInfo xmlns:p15="http://schemas.microsoft.com/office/powerpoint/2012/main" userId="S::mliang@microsoft.com::7361142e-685a-40f4-9537-9eaf0dc18d47" providerId="AD"/>
      </p:ext>
    </p:extLst>
  </p:cmAuthor>
  <p:cmAuthor id="14" name="Sarah Baranowski" initials="SB" lastIdx="1" clrIdx="13">
    <p:extLst>
      <p:ext uri="{19B8F6BF-5375-455C-9EA6-DF929625EA0E}">
        <p15:presenceInfo xmlns:p15="http://schemas.microsoft.com/office/powerpoint/2012/main" userId="S::sarbar@microsoft.com::9bda4e50-8fc7-4426-b898-f7629654c1e6" providerId="AD"/>
      </p:ext>
    </p:extLst>
  </p:cmAuthor>
  <p:cmAuthor id="15" name="Mark Smith (MS LEARN)" initials="ML" lastIdx="2" clrIdx="14">
    <p:extLst>
      <p:ext uri="{19B8F6BF-5375-455C-9EA6-DF929625EA0E}">
        <p15:presenceInfo xmlns:p15="http://schemas.microsoft.com/office/powerpoint/2012/main" userId="S::smmark@microsoft.com::3a0a17ce-f516-4c13-98ed-6f7e19fcda06" providerId="AD"/>
      </p:ext>
    </p:extLst>
  </p:cmAuthor>
  <p:cmAuthor id="16" name="Derek Peterson" initials="DP" lastIdx="6" clrIdx="15">
    <p:extLst>
      <p:ext uri="{19B8F6BF-5375-455C-9EA6-DF929625EA0E}">
        <p15:presenceInfo xmlns:p15="http://schemas.microsoft.com/office/powerpoint/2012/main" userId="S::depeters@microsoft.com::ba572e89-33ca-4fec-b942-481decb85915" providerId="AD"/>
      </p:ext>
    </p:extLst>
  </p:cmAuthor>
  <p:cmAuthor id="17" name="Duncan Mackenzie" initials="DM" lastIdx="3" clrIdx="16">
    <p:extLst>
      <p:ext uri="{19B8F6BF-5375-455C-9EA6-DF929625EA0E}">
        <p15:presenceInfo xmlns:p15="http://schemas.microsoft.com/office/powerpoint/2012/main" userId="S::duncanma@microsoft.com::97374ddb-d366-4303-a02c-0f86d9a2dd23" providerId="AD"/>
      </p:ext>
    </p:extLst>
  </p:cmAuthor>
  <p:cmAuthor id="18" name="Michael Sullivan (LEARNING)" initials="M(" lastIdx="12" clrIdx="17">
    <p:extLst>
      <p:ext uri="{19B8F6BF-5375-455C-9EA6-DF929625EA0E}">
        <p15:presenceInfo xmlns:p15="http://schemas.microsoft.com/office/powerpoint/2012/main" userId="S::msulliv@microsoft.com::f23782bf-6c78-431a-8f98-060f77535d2e" providerId="AD"/>
      </p:ext>
    </p:extLst>
  </p:cmAuthor>
  <p:cmAuthor id="19" name="Qwan Pham" initials="QP" lastIdx="2" clrIdx="18">
    <p:extLst>
      <p:ext uri="{19B8F6BF-5375-455C-9EA6-DF929625EA0E}">
        <p15:presenceInfo xmlns:p15="http://schemas.microsoft.com/office/powerpoint/2012/main" userId="S::qwpham@microsoft.com::7ed68d21-7029-43fa-9fff-37536e6520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4"/>
    <a:srgbClr val="F2F2F2"/>
    <a:srgbClr val="005A9F"/>
    <a:srgbClr val="C49500"/>
    <a:srgbClr val="00317B"/>
    <a:srgbClr val="C5E0B4"/>
    <a:srgbClr val="D4E5FF"/>
    <a:srgbClr val="92D050"/>
    <a:srgbClr val="107C10"/>
    <a:srgbClr val="004B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1A6634-C08C-C628-7DD8-86319CFDC314}" v="9" dt="2019-03-04T17:17:53.358"/>
    <p1510:client id="{5B7DC5A8-074A-9848-9794-7549EF882FA3}" v="2" dt="2019-03-04T17:42:27.0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8"/>
    <p:restoredTop sz="94690"/>
  </p:normalViewPr>
  <p:slideViewPr>
    <p:cSldViewPr snapToGrid="0">
      <p:cViewPr varScale="1">
        <p:scale>
          <a:sx n="99" d="100"/>
          <a:sy n="99" d="100"/>
        </p:scale>
        <p:origin x="52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7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microsoft.com/office/2016/11/relationships/changesInfo" Target="changesInfos/changesInfo1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wan Pham" userId="S::qwpham@microsoft.com::7ed68d21-7029-43fa-9fff-37536e65208e" providerId="AD" clId="Web-{181A6634-C08C-C628-7DD8-86319CFDC314}"/>
    <pc:docChg chg="modSld">
      <pc:chgData name="Qwan Pham" userId="S::qwpham@microsoft.com::7ed68d21-7029-43fa-9fff-37536e65208e" providerId="AD" clId="Web-{181A6634-C08C-C628-7DD8-86319CFDC314}" dt="2019-03-04T17:17:53.358" v="23" actId="20577"/>
      <pc:docMkLst>
        <pc:docMk/>
      </pc:docMkLst>
      <pc:sldChg chg="modSp">
        <pc:chgData name="Qwan Pham" userId="S::qwpham@microsoft.com::7ed68d21-7029-43fa-9fff-37536e65208e" providerId="AD" clId="Web-{181A6634-C08C-C628-7DD8-86319CFDC314}" dt="2019-03-04T17:17:53.358" v="22" actId="20577"/>
        <pc:sldMkLst>
          <pc:docMk/>
          <pc:sldMk cId="2243499014" sldId="8291"/>
        </pc:sldMkLst>
        <pc:spChg chg="mod">
          <ac:chgData name="Qwan Pham" userId="S::qwpham@microsoft.com::7ed68d21-7029-43fa-9fff-37536e65208e" providerId="AD" clId="Web-{181A6634-C08C-C628-7DD8-86319CFDC314}" dt="2019-03-04T17:17:53.358" v="22" actId="20577"/>
          <ac:spMkLst>
            <pc:docMk/>
            <pc:sldMk cId="2243499014" sldId="8291"/>
            <ac:spMk id="2" creationId="{552046E3-F35A-D14F-A0A4-DCC8E07EFBAA}"/>
          </ac:spMkLst>
        </pc:spChg>
        <pc:spChg chg="mod">
          <ac:chgData name="Qwan Pham" userId="S::qwpham@microsoft.com::7ed68d21-7029-43fa-9fff-37536e65208e" providerId="AD" clId="Web-{181A6634-C08C-C628-7DD8-86319CFDC314}" dt="2019-03-04T17:17:48.014" v="20" actId="20577"/>
          <ac:spMkLst>
            <pc:docMk/>
            <pc:sldMk cId="2243499014" sldId="8291"/>
            <ac:spMk id="3" creationId="{F2A8B4D8-1B67-844D-AE56-ABA66B58756C}"/>
          </ac:spMkLst>
        </pc:spChg>
      </pc:sldChg>
    </pc:docChg>
  </pc:docChgLst>
  <pc:docChgLst>
    <pc:chgData name="Kory Kuriel" userId="S::koryk@microsoft.com::0bb7a2ce-d585-41d1-acd3-13c000ebd55c" providerId="AD" clId="Web-{A05FF3C5-A72C-4272-A99F-7F4C2E7DF36B}"/>
    <pc:docChg chg="modSld">
      <pc:chgData name="Kory Kuriel" userId="S::koryk@microsoft.com::0bb7a2ce-d585-41d1-acd3-13c000ebd55c" providerId="AD" clId="Web-{A05FF3C5-A72C-4272-A99F-7F4C2E7DF36B}" dt="2019-03-02T01:47:25.044" v="45" actId="20577"/>
      <pc:docMkLst>
        <pc:docMk/>
      </pc:docMkLst>
      <pc:sldChg chg="modSp">
        <pc:chgData name="Kory Kuriel" userId="S::koryk@microsoft.com::0bb7a2ce-d585-41d1-acd3-13c000ebd55c" providerId="AD" clId="Web-{A05FF3C5-A72C-4272-A99F-7F4C2E7DF36B}" dt="2019-03-02T01:35:18.246" v="39" actId="20577"/>
        <pc:sldMkLst>
          <pc:docMk/>
          <pc:sldMk cId="2666988055" sldId="333"/>
        </pc:sldMkLst>
        <pc:spChg chg="mod">
          <ac:chgData name="Kory Kuriel" userId="S::koryk@microsoft.com::0bb7a2ce-d585-41d1-acd3-13c000ebd55c" providerId="AD" clId="Web-{A05FF3C5-A72C-4272-A99F-7F4C2E7DF36B}" dt="2019-03-02T01:35:18.246" v="39" actId="20577"/>
          <ac:spMkLst>
            <pc:docMk/>
            <pc:sldMk cId="2666988055" sldId="333"/>
            <ac:spMk id="3" creationId="{F2A8B4D8-1B67-844D-AE56-ABA66B58756C}"/>
          </ac:spMkLst>
        </pc:spChg>
      </pc:sldChg>
      <pc:sldChg chg="modSp">
        <pc:chgData name="Kory Kuriel" userId="S::koryk@microsoft.com::0bb7a2ce-d585-41d1-acd3-13c000ebd55c" providerId="AD" clId="Web-{A05FF3C5-A72C-4272-A99F-7F4C2E7DF36B}" dt="2019-03-02T01:47:25.044" v="44" actId="20577"/>
        <pc:sldMkLst>
          <pc:docMk/>
          <pc:sldMk cId="1591285289" sldId="8305"/>
        </pc:sldMkLst>
        <pc:spChg chg="mod">
          <ac:chgData name="Kory Kuriel" userId="S::koryk@microsoft.com::0bb7a2ce-d585-41d1-acd3-13c000ebd55c" providerId="AD" clId="Web-{A05FF3C5-A72C-4272-A99F-7F4C2E7DF36B}" dt="2019-03-02T01:47:25.044" v="44" actId="20577"/>
          <ac:spMkLst>
            <pc:docMk/>
            <pc:sldMk cId="1591285289" sldId="8305"/>
            <ac:spMk id="6" creationId="{A1E8F7C8-C284-8747-8E93-111350A35AD4}"/>
          </ac:spMkLst>
        </pc:spChg>
      </pc:sldChg>
    </pc:docChg>
  </pc:docChgLst>
  <pc:docChgLst>
    <pc:chgData name="Jason Geiger" userId="a26a7c1b-7c82-461b-a740-6ed7147e1dda" providerId="ADAL" clId="{5B7DC5A8-074A-9848-9794-7549EF882FA3}"/>
    <pc:docChg chg="undo custSel addSld delSld modSld sldOrd modSection">
      <pc:chgData name="Jason Geiger" userId="a26a7c1b-7c82-461b-a740-6ed7147e1dda" providerId="ADAL" clId="{5B7DC5A8-074A-9848-9794-7549EF882FA3}" dt="2019-03-04T17:42:25.428" v="5740" actId="14826"/>
      <pc:docMkLst>
        <pc:docMk/>
      </pc:docMkLst>
      <pc:sldChg chg="addSp modSp modNotesTx">
        <pc:chgData name="Jason Geiger" userId="a26a7c1b-7c82-461b-a740-6ed7147e1dda" providerId="ADAL" clId="{5B7DC5A8-074A-9848-9794-7549EF882FA3}" dt="2019-03-02T00:54:25.082" v="5571" actId="20577"/>
        <pc:sldMkLst>
          <pc:docMk/>
          <pc:sldMk cId="3598355243" sldId="8259"/>
        </pc:sldMkLst>
        <pc:spChg chg="add mod">
          <ac:chgData name="Jason Geiger" userId="a26a7c1b-7c82-461b-a740-6ed7147e1dda" providerId="ADAL" clId="{5B7DC5A8-074A-9848-9794-7549EF882FA3}" dt="2019-03-02T00:54:25.082" v="5571" actId="20577"/>
          <ac:spMkLst>
            <pc:docMk/>
            <pc:sldMk cId="3598355243" sldId="8259"/>
            <ac:spMk id="2" creationId="{81659856-0749-5B46-9B80-DB6D34BE27E3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34" creationId="{0646F023-9CBB-43C5-9D74-9BA90BA1A803}"/>
          </ac:spMkLst>
        </pc:spChg>
        <pc:spChg chg="mod">
          <ac:chgData name="Jason Geiger" userId="a26a7c1b-7c82-461b-a740-6ed7147e1dda" providerId="ADAL" clId="{5B7DC5A8-074A-9848-9794-7549EF882FA3}" dt="2019-03-02T00:52:52.898" v="5456" actId="20577"/>
          <ac:spMkLst>
            <pc:docMk/>
            <pc:sldMk cId="3598355243" sldId="8259"/>
            <ac:spMk id="35" creationId="{04A30D58-F717-4BD9-A306-827A8FED7701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38" creationId="{7702F3F5-3803-4698-B84E-F0337179BDC5}"/>
          </ac:spMkLst>
        </pc:spChg>
        <pc:spChg chg="mod">
          <ac:chgData name="Jason Geiger" userId="a26a7c1b-7c82-461b-a740-6ed7147e1dda" providerId="ADAL" clId="{5B7DC5A8-074A-9848-9794-7549EF882FA3}" dt="2019-03-02T00:52:49.893" v="5454" actId="20577"/>
          <ac:spMkLst>
            <pc:docMk/>
            <pc:sldMk cId="3598355243" sldId="8259"/>
            <ac:spMk id="40" creationId="{3ED7E422-7932-4ADA-9985-6A1629C04207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41" creationId="{5584F1D2-8075-4335-B0FF-97566540BF05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43" creationId="{C288BF9B-2860-CD42-9F97-EE378A8FAA68}"/>
          </ac:spMkLst>
        </pc:spChg>
        <pc:spChg chg="mod">
          <ac:chgData name="Jason Geiger" userId="a26a7c1b-7c82-461b-a740-6ed7147e1dda" providerId="ADAL" clId="{5B7DC5A8-074A-9848-9794-7549EF882FA3}" dt="2019-03-02T00:52:55.688" v="5458" actId="20577"/>
          <ac:spMkLst>
            <pc:docMk/>
            <pc:sldMk cId="3598355243" sldId="8259"/>
            <ac:spMk id="45" creationId="{27A70911-FDA5-1146-BDD9-058D90DF66F7}"/>
          </ac:spMkLst>
        </pc:spChg>
        <pc:spChg chg="mod">
          <ac:chgData name="Jason Geiger" userId="a26a7c1b-7c82-461b-a740-6ed7147e1dda" providerId="ADAL" clId="{5B7DC5A8-074A-9848-9794-7549EF882FA3}" dt="2019-03-02T00:52:58.005" v="5460" actId="20577"/>
          <ac:spMkLst>
            <pc:docMk/>
            <pc:sldMk cId="3598355243" sldId="8259"/>
            <ac:spMk id="46" creationId="{18F1432C-7911-2648-8359-51C233A386E8}"/>
          </ac:spMkLst>
        </pc:spChg>
        <pc:spChg chg="mod">
          <ac:chgData name="Jason Geiger" userId="a26a7c1b-7c82-461b-a740-6ed7147e1dda" providerId="ADAL" clId="{5B7DC5A8-074A-9848-9794-7549EF882FA3}" dt="2019-03-01T20:56:02.560" v="4048" actId="1037"/>
          <ac:spMkLst>
            <pc:docMk/>
            <pc:sldMk cId="3598355243" sldId="8259"/>
            <ac:spMk id="49" creationId="{E36B72A0-E2B6-7446-8651-F94CC78DB04A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50" creationId="{5D552249-F4E7-D24A-80B6-3735D6FA423F}"/>
          </ac:spMkLst>
        </pc:spChg>
        <pc:spChg chg="mod">
          <ac:chgData name="Jason Geiger" userId="a26a7c1b-7c82-461b-a740-6ed7147e1dda" providerId="ADAL" clId="{5B7DC5A8-074A-9848-9794-7549EF882FA3}" dt="2019-03-01T20:55:32.609" v="4010" actId="408"/>
          <ac:spMkLst>
            <pc:docMk/>
            <pc:sldMk cId="3598355243" sldId="8259"/>
            <ac:spMk id="52" creationId="{46367F3F-2C56-B340-87A1-B94193CF4669}"/>
          </ac:spMkLst>
        </pc:spChg>
        <pc:spChg chg="mod">
          <ac:chgData name="Jason Geiger" userId="a26a7c1b-7c82-461b-a740-6ed7147e1dda" providerId="ADAL" clId="{5B7DC5A8-074A-9848-9794-7549EF882FA3}" dt="2019-03-01T20:55:46.424" v="4035" actId="1038"/>
          <ac:spMkLst>
            <pc:docMk/>
            <pc:sldMk cId="3598355243" sldId="8259"/>
            <ac:spMk id="53" creationId="{54E323A1-3179-CD45-BF51-AE50BE654B69}"/>
          </ac:spMkLst>
        </pc:spChg>
        <pc:spChg chg="mod">
          <ac:chgData name="Jason Geiger" userId="a26a7c1b-7c82-461b-a740-6ed7147e1dda" providerId="ADAL" clId="{5B7DC5A8-074A-9848-9794-7549EF882FA3}" dt="2019-03-02T00:52:45.023" v="5449" actId="20577"/>
          <ac:spMkLst>
            <pc:docMk/>
            <pc:sldMk cId="3598355243" sldId="8259"/>
            <ac:spMk id="55" creationId="{72783A9A-9BAF-004C-82BE-167D4975BDF8}"/>
          </ac:spMkLst>
        </pc:spChg>
        <pc:spChg chg="mod">
          <ac:chgData name="Jason Geiger" userId="a26a7c1b-7c82-461b-a740-6ed7147e1dda" providerId="ADAL" clId="{5B7DC5A8-074A-9848-9794-7549EF882FA3}" dt="2019-03-01T23:52:42.515" v="4975" actId="207"/>
          <ac:spMkLst>
            <pc:docMk/>
            <pc:sldMk cId="3598355243" sldId="8259"/>
            <ac:spMk id="56" creationId="{14CA0700-C14D-DC43-803A-AA3A06112715}"/>
          </ac:spMkLst>
        </pc:spChg>
        <pc:cxnChg chg="mod">
          <ac:chgData name="Jason Geiger" userId="a26a7c1b-7c82-461b-a740-6ed7147e1dda" providerId="ADAL" clId="{5B7DC5A8-074A-9848-9794-7549EF882FA3}" dt="2019-03-01T20:55:54.703" v="4045" actId="1038"/>
          <ac:cxnSpMkLst>
            <pc:docMk/>
            <pc:sldMk cId="3598355243" sldId="8259"/>
            <ac:cxnSpMk id="39" creationId="{8BDE3B65-CE95-47D4-885A-776FF2873D9D}"/>
          </ac:cxnSpMkLst>
        </pc:cxnChg>
        <pc:cxnChg chg="mod">
          <ac:chgData name="Jason Geiger" userId="a26a7c1b-7c82-461b-a740-6ed7147e1dda" providerId="ADAL" clId="{5B7DC5A8-074A-9848-9794-7549EF882FA3}" dt="2019-03-01T20:55:50.906" v="4039" actId="1037"/>
          <ac:cxnSpMkLst>
            <pc:docMk/>
            <pc:sldMk cId="3598355243" sldId="8259"/>
            <ac:cxnSpMk id="42" creationId="{B38BB1D3-146F-4032-A9D8-2BB7990C86F0}"/>
          </ac:cxnSpMkLst>
        </pc:cxnChg>
        <pc:cxnChg chg="mod">
          <ac:chgData name="Jason Geiger" userId="a26a7c1b-7c82-461b-a740-6ed7147e1dda" providerId="ADAL" clId="{5B7DC5A8-074A-9848-9794-7549EF882FA3}" dt="2019-03-01T20:55:38.560" v="4024" actId="1037"/>
          <ac:cxnSpMkLst>
            <pc:docMk/>
            <pc:sldMk cId="3598355243" sldId="8259"/>
            <ac:cxnSpMk id="44" creationId="{221C7CEF-CD5C-9044-9CB5-BA72F73125FC}"/>
          </ac:cxnSpMkLst>
        </pc:cxnChg>
        <pc:cxnChg chg="mod">
          <ac:chgData name="Jason Geiger" userId="a26a7c1b-7c82-461b-a740-6ed7147e1dda" providerId="ADAL" clId="{5B7DC5A8-074A-9848-9794-7549EF882FA3}" dt="2019-03-01T20:55:41.848" v="4030" actId="1038"/>
          <ac:cxnSpMkLst>
            <pc:docMk/>
            <pc:sldMk cId="3598355243" sldId="8259"/>
            <ac:cxnSpMk id="48" creationId="{2088EE05-A0D7-924D-A270-136650BC2D9F}"/>
          </ac:cxnSpMkLst>
        </pc:cxnChg>
        <pc:cxnChg chg="mod">
          <ac:chgData name="Jason Geiger" userId="a26a7c1b-7c82-461b-a740-6ed7147e1dda" providerId="ADAL" clId="{5B7DC5A8-074A-9848-9794-7549EF882FA3}" dt="2019-03-01T20:56:02.560" v="4048" actId="1037"/>
          <ac:cxnSpMkLst>
            <pc:docMk/>
            <pc:sldMk cId="3598355243" sldId="8259"/>
            <ac:cxnSpMk id="51" creationId="{0F2AA64B-2E5C-B846-A1BD-7170EA278389}"/>
          </ac:cxnSpMkLst>
        </pc:cxnChg>
        <pc:cxnChg chg="mod">
          <ac:chgData name="Jason Geiger" userId="a26a7c1b-7c82-461b-a740-6ed7147e1dda" providerId="ADAL" clId="{5B7DC5A8-074A-9848-9794-7549EF882FA3}" dt="2019-03-01T20:55:46.424" v="4035" actId="1038"/>
          <ac:cxnSpMkLst>
            <pc:docMk/>
            <pc:sldMk cId="3598355243" sldId="8259"/>
            <ac:cxnSpMk id="54" creationId="{E6524CEE-737B-5445-B7B6-3695F67C2124}"/>
          </ac:cxnSpMkLst>
        </pc:cxnChg>
        <pc:cxnChg chg="mod">
          <ac:chgData name="Jason Geiger" userId="a26a7c1b-7c82-461b-a740-6ed7147e1dda" providerId="ADAL" clId="{5B7DC5A8-074A-9848-9794-7549EF882FA3}" dt="2019-03-01T20:55:58.136" v="4047" actId="1037"/>
          <ac:cxnSpMkLst>
            <pc:docMk/>
            <pc:sldMk cId="3598355243" sldId="8259"/>
            <ac:cxnSpMk id="57" creationId="{DE52CF83-A80A-A547-BAF8-F268EAC052FD}"/>
          </ac:cxnSpMkLst>
        </pc:cxnChg>
      </pc:sldChg>
      <pc:sldChg chg="addSp delSp modSp">
        <pc:chgData name="Jason Geiger" userId="a26a7c1b-7c82-461b-a740-6ed7147e1dda" providerId="ADAL" clId="{5B7DC5A8-074A-9848-9794-7549EF882FA3}" dt="2019-03-02T01:59:52.363" v="5737" actId="1076"/>
        <pc:sldMkLst>
          <pc:docMk/>
          <pc:sldMk cId="2844596890" sldId="8265"/>
        </pc:sldMkLst>
        <pc:picChg chg="add del">
          <ac:chgData name="Jason Geiger" userId="a26a7c1b-7c82-461b-a740-6ed7147e1dda" providerId="ADAL" clId="{5B7DC5A8-074A-9848-9794-7549EF882FA3}" dt="2019-03-02T01:58:18.509" v="5732" actId="478"/>
          <ac:picMkLst>
            <pc:docMk/>
            <pc:sldMk cId="2844596890" sldId="8265"/>
            <ac:picMk id="4" creationId="{2E50CFB2-2E10-9A4E-9E9D-261449D08F57}"/>
          </ac:picMkLst>
        </pc:picChg>
        <pc:picChg chg="del">
          <ac:chgData name="Jason Geiger" userId="a26a7c1b-7c82-461b-a740-6ed7147e1dda" providerId="ADAL" clId="{5B7DC5A8-074A-9848-9794-7549EF882FA3}" dt="2019-03-02T01:58:16.891" v="5730" actId="478"/>
          <ac:picMkLst>
            <pc:docMk/>
            <pc:sldMk cId="2844596890" sldId="8265"/>
            <ac:picMk id="5" creationId="{CC2336B4-D49C-884F-8D54-D5B7F340D4A0}"/>
          </ac:picMkLst>
        </pc:picChg>
        <pc:picChg chg="add mod">
          <ac:chgData name="Jason Geiger" userId="a26a7c1b-7c82-461b-a740-6ed7147e1dda" providerId="ADAL" clId="{5B7DC5A8-074A-9848-9794-7549EF882FA3}" dt="2019-03-02T01:59:52.363" v="5737" actId="1076"/>
          <ac:picMkLst>
            <pc:docMk/>
            <pc:sldMk cId="2844596890" sldId="8265"/>
            <ac:picMk id="6" creationId="{97B7AB0D-D79E-3A46-B9C2-D4F5F81A60E3}"/>
          </ac:picMkLst>
        </pc:picChg>
      </pc:sldChg>
      <pc:sldChg chg="addSp delSp modSp">
        <pc:chgData name="Jason Geiger" userId="a26a7c1b-7c82-461b-a740-6ed7147e1dda" providerId="ADAL" clId="{5B7DC5A8-074A-9848-9794-7549EF882FA3}" dt="2019-03-02T01:50:22.214" v="5616" actId="20577"/>
        <pc:sldMkLst>
          <pc:docMk/>
          <pc:sldMk cId="3200323887" sldId="8267"/>
        </pc:sldMkLst>
        <pc:spChg chg="mod">
          <ac:chgData name="Jason Geiger" userId="a26a7c1b-7c82-461b-a740-6ed7147e1dda" providerId="ADAL" clId="{5B7DC5A8-074A-9848-9794-7549EF882FA3}" dt="2019-02-28T19:36:13.685" v="1136" actId="1035"/>
          <ac:spMkLst>
            <pc:docMk/>
            <pc:sldMk cId="3200323887" sldId="8267"/>
            <ac:spMk id="3" creationId="{B6E4B0E1-258F-CC49-A026-D34DA250A20F}"/>
          </ac:spMkLst>
        </pc:spChg>
        <pc:spChg chg="mod">
          <ac:chgData name="Jason Geiger" userId="a26a7c1b-7c82-461b-a740-6ed7147e1dda" providerId="ADAL" clId="{5B7DC5A8-074A-9848-9794-7549EF882FA3}" dt="2019-03-01T20:43:05.832" v="3698" actId="1036"/>
          <ac:spMkLst>
            <pc:docMk/>
            <pc:sldMk cId="3200323887" sldId="8267"/>
            <ac:spMk id="12" creationId="{811862EC-5694-1240-9601-E885A14AE061}"/>
          </ac:spMkLst>
        </pc:spChg>
        <pc:spChg chg="mod">
          <ac:chgData name="Jason Geiger" userId="a26a7c1b-7c82-461b-a740-6ed7147e1dda" providerId="ADAL" clId="{5B7DC5A8-074A-9848-9794-7549EF882FA3}" dt="2019-03-01T20:42:45.754" v="3658" actId="1035"/>
          <ac:spMkLst>
            <pc:docMk/>
            <pc:sldMk cId="3200323887" sldId="8267"/>
            <ac:spMk id="19" creationId="{23DE3F7D-EA6A-D841-BBD7-354859D3121B}"/>
          </ac:spMkLst>
        </pc:spChg>
        <pc:spChg chg="del">
          <ac:chgData name="Jason Geiger" userId="a26a7c1b-7c82-461b-a740-6ed7147e1dda" providerId="ADAL" clId="{5B7DC5A8-074A-9848-9794-7549EF882FA3}" dt="2019-02-28T19:02:11.555" v="573" actId="478"/>
          <ac:spMkLst>
            <pc:docMk/>
            <pc:sldMk cId="3200323887" sldId="8267"/>
            <ac:spMk id="22" creationId="{F0F57A68-4B63-934A-96F4-C47E15F3E007}"/>
          </ac:spMkLst>
        </pc:spChg>
        <pc:spChg chg="add mod">
          <ac:chgData name="Jason Geiger" userId="a26a7c1b-7c82-461b-a740-6ed7147e1dda" providerId="ADAL" clId="{5B7DC5A8-074A-9848-9794-7549EF882FA3}" dt="2019-03-01T20:42:52.128" v="3674" actId="1035"/>
          <ac:spMkLst>
            <pc:docMk/>
            <pc:sldMk cId="3200323887" sldId="8267"/>
            <ac:spMk id="23" creationId="{284CBD4E-E78B-2248-8EF8-0C0CF7B505BD}"/>
          </ac:spMkLst>
        </pc:spChg>
        <pc:spChg chg="mod">
          <ac:chgData name="Jason Geiger" userId="a26a7c1b-7c82-461b-a740-6ed7147e1dda" providerId="ADAL" clId="{5B7DC5A8-074A-9848-9794-7549EF882FA3}" dt="2019-03-02T01:49:59.924" v="5607" actId="20577"/>
          <ac:spMkLst>
            <pc:docMk/>
            <pc:sldMk cId="3200323887" sldId="8267"/>
            <ac:spMk id="27" creationId="{A6E4043C-84B2-BA4B-9351-EAD3C2259B82}"/>
          </ac:spMkLst>
        </pc:spChg>
        <pc:spChg chg="mod">
          <ac:chgData name="Jason Geiger" userId="a26a7c1b-7c82-461b-a740-6ed7147e1dda" providerId="ADAL" clId="{5B7DC5A8-074A-9848-9794-7549EF882FA3}" dt="2019-03-02T01:50:22.214" v="5616" actId="20577"/>
          <ac:spMkLst>
            <pc:docMk/>
            <pc:sldMk cId="3200323887" sldId="8267"/>
            <ac:spMk id="52" creationId="{5AB5C74A-F37E-5A48-B21F-8BC4CCFE1CF0}"/>
          </ac:spMkLst>
        </pc:spChg>
        <pc:picChg chg="mod">
          <ac:chgData name="Jason Geiger" userId="a26a7c1b-7c82-461b-a740-6ed7147e1dda" providerId="ADAL" clId="{5B7DC5A8-074A-9848-9794-7549EF882FA3}" dt="2019-03-01T20:53:15.540" v="3997" actId="208"/>
          <ac:picMkLst>
            <pc:docMk/>
            <pc:sldMk cId="3200323887" sldId="8267"/>
            <ac:picMk id="4" creationId="{1FABE4B4-7EC7-4741-BE26-DEA0D7826251}"/>
          </ac:picMkLst>
        </pc:picChg>
        <pc:cxnChg chg="mod">
          <ac:chgData name="Jason Geiger" userId="a26a7c1b-7c82-461b-a740-6ed7147e1dda" providerId="ADAL" clId="{5B7DC5A8-074A-9848-9794-7549EF882FA3}" dt="2019-03-01T20:42:45.754" v="3658" actId="1035"/>
          <ac:cxnSpMkLst>
            <pc:docMk/>
            <pc:sldMk cId="3200323887" sldId="8267"/>
            <ac:cxnSpMk id="15" creationId="{EF34E2B3-0B6D-CA4E-B512-5D78D14CA124}"/>
          </ac:cxnSpMkLst>
        </pc:cxnChg>
        <pc:cxnChg chg="mod">
          <ac:chgData name="Jason Geiger" userId="a26a7c1b-7c82-461b-a740-6ed7147e1dda" providerId="ADAL" clId="{5B7DC5A8-074A-9848-9794-7549EF882FA3}" dt="2019-03-01T20:42:45.754" v="3658" actId="1035"/>
          <ac:cxnSpMkLst>
            <pc:docMk/>
            <pc:sldMk cId="3200323887" sldId="8267"/>
            <ac:cxnSpMk id="16" creationId="{34FB6D7E-C12A-2E44-9249-96D355E0A61F}"/>
          </ac:cxnSpMkLst>
        </pc:cxnChg>
        <pc:cxnChg chg="del mod">
          <ac:chgData name="Jason Geiger" userId="a26a7c1b-7c82-461b-a740-6ed7147e1dda" providerId="ADAL" clId="{5B7DC5A8-074A-9848-9794-7549EF882FA3}" dt="2019-02-28T19:02:04.489" v="572" actId="478"/>
          <ac:cxnSpMkLst>
            <pc:docMk/>
            <pc:sldMk cId="3200323887" sldId="8267"/>
            <ac:cxnSpMk id="17" creationId="{C4F2D122-8942-6741-8010-318A93E2EBF9}"/>
          </ac:cxnSpMkLst>
        </pc:cxnChg>
        <pc:cxnChg chg="mod">
          <ac:chgData name="Jason Geiger" userId="a26a7c1b-7c82-461b-a740-6ed7147e1dda" providerId="ADAL" clId="{5B7DC5A8-074A-9848-9794-7549EF882FA3}" dt="2019-03-01T20:43:05.832" v="3698" actId="1036"/>
          <ac:cxnSpMkLst>
            <pc:docMk/>
            <pc:sldMk cId="3200323887" sldId="8267"/>
            <ac:cxnSpMk id="20" creationId="{CBD83F02-DDCD-D743-A7A1-22F14113E2F6}"/>
          </ac:cxnSpMkLst>
        </pc:cxnChg>
        <pc:cxnChg chg="del">
          <ac:chgData name="Jason Geiger" userId="a26a7c1b-7c82-461b-a740-6ed7147e1dda" providerId="ADAL" clId="{5B7DC5A8-074A-9848-9794-7549EF882FA3}" dt="2019-02-28T19:01:02.214" v="539" actId="478"/>
          <ac:cxnSpMkLst>
            <pc:docMk/>
            <pc:sldMk cId="3200323887" sldId="8267"/>
            <ac:cxnSpMk id="24" creationId="{F0788A25-21EF-2D4C-916F-DEBF161A9385}"/>
          </ac:cxnSpMkLst>
        </pc:cxnChg>
        <pc:cxnChg chg="del">
          <ac:chgData name="Jason Geiger" userId="a26a7c1b-7c82-461b-a740-6ed7147e1dda" providerId="ADAL" clId="{5B7DC5A8-074A-9848-9794-7549EF882FA3}" dt="2019-02-28T19:01:03.210" v="540" actId="478"/>
          <ac:cxnSpMkLst>
            <pc:docMk/>
            <pc:sldMk cId="3200323887" sldId="8267"/>
            <ac:cxnSpMk id="25" creationId="{64103306-6DC4-5341-97A9-5D0AFFA9977F}"/>
          </ac:cxnSpMkLst>
        </pc:cxnChg>
        <pc:cxnChg chg="mod">
          <ac:chgData name="Jason Geiger" userId="a26a7c1b-7c82-461b-a740-6ed7147e1dda" providerId="ADAL" clId="{5B7DC5A8-074A-9848-9794-7549EF882FA3}" dt="2019-02-28T19:36:13.685" v="1136" actId="1035"/>
          <ac:cxnSpMkLst>
            <pc:docMk/>
            <pc:sldMk cId="3200323887" sldId="8267"/>
            <ac:cxnSpMk id="26" creationId="{7A0EB061-A389-934A-A982-87B7061B7C45}"/>
          </ac:cxnSpMkLst>
        </pc:cxnChg>
        <pc:cxnChg chg="mod">
          <ac:chgData name="Jason Geiger" userId="a26a7c1b-7c82-461b-a740-6ed7147e1dda" providerId="ADAL" clId="{5B7DC5A8-074A-9848-9794-7549EF882FA3}" dt="2019-03-01T20:42:57.504" v="3682" actId="1035"/>
          <ac:cxnSpMkLst>
            <pc:docMk/>
            <pc:sldMk cId="3200323887" sldId="8267"/>
            <ac:cxnSpMk id="28" creationId="{96FD2EF4-5B89-484F-8FB1-EE1CB36CCEC5}"/>
          </ac:cxnSpMkLst>
        </pc:cxnChg>
        <pc:cxnChg chg="add mod">
          <ac:chgData name="Jason Geiger" userId="a26a7c1b-7c82-461b-a740-6ed7147e1dda" providerId="ADAL" clId="{5B7DC5A8-074A-9848-9794-7549EF882FA3}" dt="2019-03-01T20:42:52.128" v="3674" actId="1035"/>
          <ac:cxnSpMkLst>
            <pc:docMk/>
            <pc:sldMk cId="3200323887" sldId="8267"/>
            <ac:cxnSpMk id="29" creationId="{C18B891E-BA3F-5845-878C-CEFCF27D54CC}"/>
          </ac:cxnSpMkLst>
        </pc:cxnChg>
        <pc:cxnChg chg="del">
          <ac:chgData name="Jason Geiger" userId="a26a7c1b-7c82-461b-a740-6ed7147e1dda" providerId="ADAL" clId="{5B7DC5A8-074A-9848-9794-7549EF882FA3}" dt="2019-02-28T19:01:04.259" v="541" actId="478"/>
          <ac:cxnSpMkLst>
            <pc:docMk/>
            <pc:sldMk cId="3200323887" sldId="8267"/>
            <ac:cxnSpMk id="39" creationId="{80E9FD78-7331-3F40-9751-DBB2BC448533}"/>
          </ac:cxnSpMkLst>
        </pc:cxnChg>
        <pc:cxnChg chg="mod">
          <ac:chgData name="Jason Geiger" userId="a26a7c1b-7c82-461b-a740-6ed7147e1dda" providerId="ADAL" clId="{5B7DC5A8-074A-9848-9794-7549EF882FA3}" dt="2019-03-01T20:43:00.821" v="3690" actId="1035"/>
          <ac:cxnSpMkLst>
            <pc:docMk/>
            <pc:sldMk cId="3200323887" sldId="8267"/>
            <ac:cxnSpMk id="53" creationId="{AB6383FD-9D95-4C44-89F7-48D64BCDA42F}"/>
          </ac:cxnSpMkLst>
        </pc:cxnChg>
      </pc:sldChg>
      <pc:sldChg chg="del">
        <pc:chgData name="Jason Geiger" userId="a26a7c1b-7c82-461b-a740-6ed7147e1dda" providerId="ADAL" clId="{5B7DC5A8-074A-9848-9794-7549EF882FA3}" dt="2019-02-28T17:54:48.923" v="533" actId="2696"/>
        <pc:sldMkLst>
          <pc:docMk/>
          <pc:sldMk cId="2727079196" sldId="8269"/>
        </pc:sldMkLst>
      </pc:sldChg>
      <pc:sldChg chg="modSp">
        <pc:chgData name="Jason Geiger" userId="a26a7c1b-7c82-461b-a740-6ed7147e1dda" providerId="ADAL" clId="{5B7DC5A8-074A-9848-9794-7549EF882FA3}" dt="2019-03-02T02:08:21.602" v="5738" actId="20577"/>
        <pc:sldMkLst>
          <pc:docMk/>
          <pc:sldMk cId="615031875" sldId="8275"/>
        </pc:sldMkLst>
        <pc:spChg chg="mod">
          <ac:chgData name="Jason Geiger" userId="a26a7c1b-7c82-461b-a740-6ed7147e1dda" providerId="ADAL" clId="{5B7DC5A8-074A-9848-9794-7549EF882FA3}" dt="2019-03-02T02:08:21.602" v="5738" actId="20577"/>
          <ac:spMkLst>
            <pc:docMk/>
            <pc:sldMk cId="615031875" sldId="8275"/>
            <ac:spMk id="2" creationId="{043E1B0F-756E-4E4C-9FD6-E90A84772F80}"/>
          </ac:spMkLst>
        </pc:spChg>
      </pc:sldChg>
      <pc:sldChg chg="del ord">
        <pc:chgData name="Jason Geiger" userId="a26a7c1b-7c82-461b-a740-6ed7147e1dda" providerId="ADAL" clId="{5B7DC5A8-074A-9848-9794-7549EF882FA3}" dt="2019-02-28T21:26:40.219" v="1284" actId="2696"/>
        <pc:sldMkLst>
          <pc:docMk/>
          <pc:sldMk cId="4038235360" sldId="8276"/>
        </pc:sldMkLst>
      </pc:sldChg>
      <pc:sldChg chg="addSp delSp modSp modNotesTx">
        <pc:chgData name="Jason Geiger" userId="a26a7c1b-7c82-461b-a740-6ed7147e1dda" providerId="ADAL" clId="{5B7DC5A8-074A-9848-9794-7549EF882FA3}" dt="2019-03-02T01:53:36.595" v="5696" actId="20577"/>
        <pc:sldMkLst>
          <pc:docMk/>
          <pc:sldMk cId="4234180194" sldId="8279"/>
        </pc:sldMkLst>
        <pc:spChg chg="mod">
          <ac:chgData name="Jason Geiger" userId="a26a7c1b-7c82-461b-a740-6ed7147e1dda" providerId="ADAL" clId="{5B7DC5A8-074A-9848-9794-7549EF882FA3}" dt="2019-03-01T20:44:18.558" v="3752" actId="20577"/>
          <ac:spMkLst>
            <pc:docMk/>
            <pc:sldMk cId="4234180194" sldId="8279"/>
            <ac:spMk id="28" creationId="{E413013D-822F-AE4F-A85E-258FDB65F8E2}"/>
          </ac:spMkLst>
        </pc:spChg>
        <pc:spChg chg="mod">
          <ac:chgData name="Jason Geiger" userId="a26a7c1b-7c82-461b-a740-6ed7147e1dda" providerId="ADAL" clId="{5B7DC5A8-074A-9848-9794-7549EF882FA3}" dt="2019-03-02T01:52:44.156" v="5667" actId="20577"/>
          <ac:spMkLst>
            <pc:docMk/>
            <pc:sldMk cId="4234180194" sldId="8279"/>
            <ac:spMk id="29" creationId="{A3C90B4F-2461-6842-AAE8-C0123DE25A4D}"/>
          </ac:spMkLst>
        </pc:spChg>
        <pc:spChg chg="mod">
          <ac:chgData name="Jason Geiger" userId="a26a7c1b-7c82-461b-a740-6ed7147e1dda" providerId="ADAL" clId="{5B7DC5A8-074A-9848-9794-7549EF882FA3}" dt="2019-03-02T01:52:04.408" v="5666" actId="1035"/>
          <ac:spMkLst>
            <pc:docMk/>
            <pc:sldMk cId="4234180194" sldId="8279"/>
            <ac:spMk id="30" creationId="{F93587ED-B0FB-DD43-A85E-DF1B217C1E46}"/>
          </ac:spMkLst>
        </pc:spChg>
        <pc:spChg chg="del mod">
          <ac:chgData name="Jason Geiger" userId="a26a7c1b-7c82-461b-a740-6ed7147e1dda" providerId="ADAL" clId="{5B7DC5A8-074A-9848-9794-7549EF882FA3}" dt="2019-02-28T19:20:15.408" v="1048" actId="478"/>
          <ac:spMkLst>
            <pc:docMk/>
            <pc:sldMk cId="4234180194" sldId="8279"/>
            <ac:spMk id="31" creationId="{30E7A757-DDBE-C943-BB87-A81C7458286E}"/>
          </ac:spMkLst>
        </pc:spChg>
        <pc:spChg chg="mod">
          <ac:chgData name="Jason Geiger" userId="a26a7c1b-7c82-461b-a740-6ed7147e1dda" providerId="ADAL" clId="{5B7DC5A8-074A-9848-9794-7549EF882FA3}" dt="2019-03-01T00:57:58.026" v="1996" actId="552"/>
          <ac:spMkLst>
            <pc:docMk/>
            <pc:sldMk cId="4234180194" sldId="8279"/>
            <ac:spMk id="36" creationId="{A138FB12-209E-EE4F-998D-2B0DB21CAE0E}"/>
          </ac:spMkLst>
        </pc:spChg>
        <pc:spChg chg="del mod">
          <ac:chgData name="Jason Geiger" userId="a26a7c1b-7c82-461b-a740-6ed7147e1dda" providerId="ADAL" clId="{5B7DC5A8-074A-9848-9794-7549EF882FA3}" dt="2019-02-28T19:16:00.864" v="863" actId="478"/>
          <ac:spMkLst>
            <pc:docMk/>
            <pc:sldMk cId="4234180194" sldId="8279"/>
            <ac:spMk id="38" creationId="{0BC20A46-A9CD-CB48-8678-BE2DDAD32EEC}"/>
          </ac:spMkLst>
        </pc:spChg>
        <pc:spChg chg="mod">
          <ac:chgData name="Jason Geiger" userId="a26a7c1b-7c82-461b-a740-6ed7147e1dda" providerId="ADAL" clId="{5B7DC5A8-074A-9848-9794-7549EF882FA3}" dt="2019-03-02T01:53:36.595" v="5696" actId="20577"/>
          <ac:spMkLst>
            <pc:docMk/>
            <pc:sldMk cId="4234180194" sldId="8279"/>
            <ac:spMk id="40" creationId="{7D04AEAB-F478-EF4B-AEFC-A606151C9581}"/>
          </ac:spMkLst>
        </pc:spChg>
        <pc:spChg chg="mod">
          <ac:chgData name="Jason Geiger" userId="a26a7c1b-7c82-461b-a740-6ed7147e1dda" providerId="ADAL" clId="{5B7DC5A8-074A-9848-9794-7549EF882FA3}" dt="2019-03-01T20:47:19.999" v="3824" actId="1035"/>
          <ac:spMkLst>
            <pc:docMk/>
            <pc:sldMk cId="4234180194" sldId="8279"/>
            <ac:spMk id="47" creationId="{E181D706-D17C-E94E-A0C7-E16E83AD5E86}"/>
          </ac:spMkLst>
        </pc:spChg>
        <pc:spChg chg="add mod">
          <ac:chgData name="Jason Geiger" userId="a26a7c1b-7c82-461b-a740-6ed7147e1dda" providerId="ADAL" clId="{5B7DC5A8-074A-9848-9794-7549EF882FA3}" dt="2019-03-01T00:57:47.628" v="1995" actId="1038"/>
          <ac:spMkLst>
            <pc:docMk/>
            <pc:sldMk cId="4234180194" sldId="8279"/>
            <ac:spMk id="48" creationId="{38EF375C-F900-3542-90C6-851DA2D833AF}"/>
          </ac:spMkLst>
        </pc:spChg>
        <pc:picChg chg="mod">
          <ac:chgData name="Jason Geiger" userId="a26a7c1b-7c82-461b-a740-6ed7147e1dda" providerId="ADAL" clId="{5B7DC5A8-074A-9848-9794-7549EF882FA3}" dt="2019-03-01T20:43:47.697" v="3701" actId="14826"/>
          <ac:picMkLst>
            <pc:docMk/>
            <pc:sldMk cId="4234180194" sldId="8279"/>
            <ac:picMk id="24" creationId="{7980FAA1-4894-F04E-B476-EB0014E3E973}"/>
          </ac:picMkLst>
        </pc:picChg>
        <pc:cxnChg chg="add mod">
          <ac:chgData name="Jason Geiger" userId="a26a7c1b-7c82-461b-a740-6ed7147e1dda" providerId="ADAL" clId="{5B7DC5A8-074A-9848-9794-7549EF882FA3}" dt="2019-03-01T20:52:37.762" v="3995" actId="553"/>
          <ac:cxnSpMkLst>
            <pc:docMk/>
            <pc:sldMk cId="4234180194" sldId="8279"/>
            <ac:cxnSpMk id="19" creationId="{CF71B568-EDE1-2E46-A04D-7FA56DDFBC95}"/>
          </ac:cxnSpMkLst>
        </pc:cxnChg>
        <pc:cxnChg chg="add del mod">
          <ac:chgData name="Jason Geiger" userId="a26a7c1b-7c82-461b-a740-6ed7147e1dda" providerId="ADAL" clId="{5B7DC5A8-074A-9848-9794-7549EF882FA3}" dt="2019-03-01T20:48:00.689" v="3841" actId="478"/>
          <ac:cxnSpMkLst>
            <pc:docMk/>
            <pc:sldMk cId="4234180194" sldId="8279"/>
            <ac:cxnSpMk id="20" creationId="{ECA17D2B-600B-084E-BA0E-31396163A5A0}"/>
          </ac:cxnSpMkLst>
        </pc:cxnChg>
        <pc:cxnChg chg="add mod">
          <ac:chgData name="Jason Geiger" userId="a26a7c1b-7c82-461b-a740-6ed7147e1dda" providerId="ADAL" clId="{5B7DC5A8-074A-9848-9794-7549EF882FA3}" dt="2019-03-02T01:52:04.408" v="5666" actId="1035"/>
          <ac:cxnSpMkLst>
            <pc:docMk/>
            <pc:sldMk cId="4234180194" sldId="8279"/>
            <ac:cxnSpMk id="21" creationId="{30DC173C-EB8D-1940-9DB9-D37D58EC8707}"/>
          </ac:cxnSpMkLst>
        </pc:cxnChg>
        <pc:cxnChg chg="add mod">
          <ac:chgData name="Jason Geiger" userId="a26a7c1b-7c82-461b-a740-6ed7147e1dda" providerId="ADAL" clId="{5B7DC5A8-074A-9848-9794-7549EF882FA3}" dt="2019-03-01T20:52:37.762" v="3995" actId="553"/>
          <ac:cxnSpMkLst>
            <pc:docMk/>
            <pc:sldMk cId="4234180194" sldId="8279"/>
            <ac:cxnSpMk id="22" creationId="{0C6CF196-61E7-9443-8161-EF17E7662D6F}"/>
          </ac:cxnSpMkLst>
        </pc:cxnChg>
        <pc:cxnChg chg="add del mod">
          <ac:chgData name="Jason Geiger" userId="a26a7c1b-7c82-461b-a740-6ed7147e1dda" providerId="ADAL" clId="{5B7DC5A8-074A-9848-9794-7549EF882FA3}" dt="2019-03-01T20:52:22.630" v="3991" actId="478"/>
          <ac:cxnSpMkLst>
            <pc:docMk/>
            <pc:sldMk cId="4234180194" sldId="8279"/>
            <ac:cxnSpMk id="25" creationId="{BF09547A-CEF7-544C-87ED-6C306AF295F1}"/>
          </ac:cxnSpMkLst>
        </pc:cxnChg>
        <pc:cxnChg chg="del mod">
          <ac:chgData name="Jason Geiger" userId="a26a7c1b-7c82-461b-a740-6ed7147e1dda" providerId="ADAL" clId="{5B7DC5A8-074A-9848-9794-7549EF882FA3}" dt="2019-02-28T19:16:28.325" v="868" actId="478"/>
          <ac:cxnSpMkLst>
            <pc:docMk/>
            <pc:sldMk cId="4234180194" sldId="8279"/>
            <ac:cxnSpMk id="33" creationId="{51AC6AFD-9252-EA40-99FA-B17744960D95}"/>
          </ac:cxnSpMkLst>
        </pc:cxnChg>
        <pc:cxnChg chg="del mod">
          <ac:chgData name="Jason Geiger" userId="a26a7c1b-7c82-461b-a740-6ed7147e1dda" providerId="ADAL" clId="{5B7DC5A8-074A-9848-9794-7549EF882FA3}" dt="2019-03-01T20:51:56.580" v="3985" actId="478"/>
          <ac:cxnSpMkLst>
            <pc:docMk/>
            <pc:sldMk cId="4234180194" sldId="8279"/>
            <ac:cxnSpMk id="34" creationId="{6FFC8CFE-B4E5-654F-A325-0ADF508B6592}"/>
          </ac:cxnSpMkLst>
        </pc:cxnChg>
        <pc:cxnChg chg="del mod">
          <ac:chgData name="Jason Geiger" userId="a26a7c1b-7c82-461b-a740-6ed7147e1dda" providerId="ADAL" clId="{5B7DC5A8-074A-9848-9794-7549EF882FA3}" dt="2019-02-28T19:20:52.362" v="1058" actId="478"/>
          <ac:cxnSpMkLst>
            <pc:docMk/>
            <pc:sldMk cId="4234180194" sldId="8279"/>
            <ac:cxnSpMk id="35" creationId="{C3EC42D0-1CC6-AB49-B8C3-4FB5856B9CAE}"/>
          </ac:cxnSpMkLst>
        </pc:cxnChg>
        <pc:cxnChg chg="del mod">
          <ac:chgData name="Jason Geiger" userId="a26a7c1b-7c82-461b-a740-6ed7147e1dda" providerId="ADAL" clId="{5B7DC5A8-074A-9848-9794-7549EF882FA3}" dt="2019-02-28T19:16:00.864" v="863" actId="478"/>
          <ac:cxnSpMkLst>
            <pc:docMk/>
            <pc:sldMk cId="4234180194" sldId="8279"/>
            <ac:cxnSpMk id="39" creationId="{DBE71A14-6CC1-394D-932E-A96529F8550C}"/>
          </ac:cxnSpMkLst>
        </pc:cxnChg>
        <pc:cxnChg chg="mod">
          <ac:chgData name="Jason Geiger" userId="a26a7c1b-7c82-461b-a740-6ed7147e1dda" providerId="ADAL" clId="{5B7DC5A8-074A-9848-9794-7549EF882FA3}" dt="2019-03-02T01:51:59.929" v="5657" actId="1035"/>
          <ac:cxnSpMkLst>
            <pc:docMk/>
            <pc:sldMk cId="4234180194" sldId="8279"/>
            <ac:cxnSpMk id="41" creationId="{0F4B8662-BFB3-874B-AF9E-4107F9F4293F}"/>
          </ac:cxnSpMkLst>
        </pc:cxnChg>
        <pc:cxnChg chg="del mod">
          <ac:chgData name="Jason Geiger" userId="a26a7c1b-7c82-461b-a740-6ed7147e1dda" providerId="ADAL" clId="{5B7DC5A8-074A-9848-9794-7549EF882FA3}" dt="2019-02-28T19:19:55.685" v="1046" actId="478"/>
          <ac:cxnSpMkLst>
            <pc:docMk/>
            <pc:sldMk cId="4234180194" sldId="8279"/>
            <ac:cxnSpMk id="42" creationId="{4A9E55E8-63AF-934C-A0B9-9F9C4B6B6E6F}"/>
          </ac:cxnSpMkLst>
        </pc:cxnChg>
        <pc:cxnChg chg="del mod">
          <ac:chgData name="Jason Geiger" userId="a26a7c1b-7c82-461b-a740-6ed7147e1dda" providerId="ADAL" clId="{5B7DC5A8-074A-9848-9794-7549EF882FA3}" dt="2019-02-28T19:19:55.685" v="1046" actId="478"/>
          <ac:cxnSpMkLst>
            <pc:docMk/>
            <pc:sldMk cId="4234180194" sldId="8279"/>
            <ac:cxnSpMk id="43" creationId="{7B0E65FA-A167-E14E-8B2B-93102B745B59}"/>
          </ac:cxnSpMkLst>
        </pc:cxnChg>
        <pc:cxnChg chg="del mod">
          <ac:chgData name="Jason Geiger" userId="a26a7c1b-7c82-461b-a740-6ed7147e1dda" providerId="ADAL" clId="{5B7DC5A8-074A-9848-9794-7549EF882FA3}" dt="2019-02-28T19:19:55.685" v="1046" actId="478"/>
          <ac:cxnSpMkLst>
            <pc:docMk/>
            <pc:sldMk cId="4234180194" sldId="8279"/>
            <ac:cxnSpMk id="44" creationId="{9164576D-FBBE-0749-84B1-8ED667270079}"/>
          </ac:cxnSpMkLst>
        </pc:cxnChg>
        <pc:cxnChg chg="del mod">
          <ac:chgData name="Jason Geiger" userId="a26a7c1b-7c82-461b-a740-6ed7147e1dda" providerId="ADAL" clId="{5B7DC5A8-074A-9848-9794-7549EF882FA3}" dt="2019-03-01T20:47:26.072" v="3825" actId="478"/>
          <ac:cxnSpMkLst>
            <pc:docMk/>
            <pc:sldMk cId="4234180194" sldId="8279"/>
            <ac:cxnSpMk id="45" creationId="{6AA6E601-00C1-7B4C-BF66-05CAF8474207}"/>
          </ac:cxnSpMkLst>
        </pc:cxnChg>
        <pc:cxnChg chg="mod">
          <ac:chgData name="Jason Geiger" userId="a26a7c1b-7c82-461b-a740-6ed7147e1dda" providerId="ADAL" clId="{5B7DC5A8-074A-9848-9794-7549EF882FA3}" dt="2019-03-01T20:43:53.791" v="3710" actId="1035"/>
          <ac:cxnSpMkLst>
            <pc:docMk/>
            <pc:sldMk cId="4234180194" sldId="8279"/>
            <ac:cxnSpMk id="46" creationId="{F58FEB4A-C02B-7441-A701-8A42902071AA}"/>
          </ac:cxnSpMkLst>
        </pc:cxnChg>
        <pc:cxnChg chg="mod">
          <ac:chgData name="Jason Geiger" userId="a26a7c1b-7c82-461b-a740-6ed7147e1dda" providerId="ADAL" clId="{5B7DC5A8-074A-9848-9794-7549EF882FA3}" dt="2019-03-01T20:47:19.999" v="3824" actId="1035"/>
          <ac:cxnSpMkLst>
            <pc:docMk/>
            <pc:sldMk cId="4234180194" sldId="8279"/>
            <ac:cxnSpMk id="49" creationId="{3EE67BB9-5CB2-E44C-BFD5-F996EB0524A3}"/>
          </ac:cxnSpMkLst>
        </pc:cxnChg>
        <pc:cxnChg chg="add mod">
          <ac:chgData name="Jason Geiger" userId="a26a7c1b-7c82-461b-a740-6ed7147e1dda" providerId="ADAL" clId="{5B7DC5A8-074A-9848-9794-7549EF882FA3}" dt="2019-03-01T00:58:04.586" v="1998" actId="14100"/>
          <ac:cxnSpMkLst>
            <pc:docMk/>
            <pc:sldMk cId="4234180194" sldId="8279"/>
            <ac:cxnSpMk id="50" creationId="{8AC84E90-ABEA-784F-957B-3E66EEB5EF03}"/>
          </ac:cxnSpMkLst>
        </pc:cxnChg>
      </pc:sldChg>
      <pc:sldChg chg="modSp add del modTransition">
        <pc:chgData name="Jason Geiger" userId="a26a7c1b-7c82-461b-a740-6ed7147e1dda" providerId="ADAL" clId="{5B7DC5A8-074A-9848-9794-7549EF882FA3}" dt="2019-02-28T17:39:57.645" v="30" actId="2696"/>
        <pc:sldMkLst>
          <pc:docMk/>
          <pc:sldMk cId="2329921043" sldId="8281"/>
        </pc:sldMkLst>
        <pc:spChg chg="mod">
          <ac:chgData name="Jason Geiger" userId="a26a7c1b-7c82-461b-a740-6ed7147e1dda" providerId="ADAL" clId="{5B7DC5A8-074A-9848-9794-7549EF882FA3}" dt="2019-02-28T17:38:31.153" v="21" actId="27636"/>
          <ac:spMkLst>
            <pc:docMk/>
            <pc:sldMk cId="2329921043" sldId="8281"/>
            <ac:spMk id="3" creationId="{F2A8B4D8-1B67-844D-AE56-ABA66B58756C}"/>
          </ac:spMkLst>
        </pc:spChg>
      </pc:sldChg>
      <pc:sldChg chg="del">
        <pc:chgData name="Jason Geiger" userId="a26a7c1b-7c82-461b-a740-6ed7147e1dda" providerId="ADAL" clId="{5B7DC5A8-074A-9848-9794-7549EF882FA3}" dt="2019-02-28T17:10:37.438" v="15" actId="2696"/>
        <pc:sldMkLst>
          <pc:docMk/>
          <pc:sldMk cId="4078817896" sldId="8281"/>
        </pc:sldMkLst>
      </pc:sldChg>
      <pc:sldChg chg="modSp ord">
        <pc:chgData name="Jason Geiger" userId="a26a7c1b-7c82-461b-a740-6ed7147e1dda" providerId="ADAL" clId="{5B7DC5A8-074A-9848-9794-7549EF882FA3}" dt="2019-03-01T23:41:27.116" v="4806"/>
        <pc:sldMkLst>
          <pc:docMk/>
          <pc:sldMk cId="891911096" sldId="8282"/>
        </pc:sldMkLst>
        <pc:spChg chg="mod">
          <ac:chgData name="Jason Geiger" userId="a26a7c1b-7c82-461b-a740-6ed7147e1dda" providerId="ADAL" clId="{5B7DC5A8-074A-9848-9794-7549EF882FA3}" dt="2019-02-28T22:10:50.783" v="1470" actId="20577"/>
          <ac:spMkLst>
            <pc:docMk/>
            <pc:sldMk cId="891911096" sldId="8282"/>
            <ac:spMk id="2" creationId="{043E1B0F-756E-4E4C-9FD6-E90A84772F80}"/>
          </ac:spMkLst>
        </pc:spChg>
        <pc:spChg chg="mod">
          <ac:chgData name="Jason Geiger" userId="a26a7c1b-7c82-461b-a740-6ed7147e1dda" providerId="ADAL" clId="{5B7DC5A8-074A-9848-9794-7549EF882FA3}" dt="2019-03-01T23:29:38.912" v="4496" actId="20577"/>
          <ac:spMkLst>
            <pc:docMk/>
            <pc:sldMk cId="891911096" sldId="8282"/>
            <ac:spMk id="5" creationId="{51F31075-B4EB-CE47-91D0-CEDFA6AE92BA}"/>
          </ac:spMkLst>
        </pc:spChg>
        <pc:picChg chg="mod">
          <ac:chgData name="Jason Geiger" userId="a26a7c1b-7c82-461b-a740-6ed7147e1dda" providerId="ADAL" clId="{5B7DC5A8-074A-9848-9794-7549EF882FA3}" dt="2019-03-01T20:37:25.454" v="3635" actId="1076"/>
          <ac:picMkLst>
            <pc:docMk/>
            <pc:sldMk cId="891911096" sldId="8282"/>
            <ac:picMk id="11" creationId="{F0955088-5DD3-E948-8872-67CE60B552B7}"/>
          </ac:picMkLst>
        </pc:picChg>
      </pc:sldChg>
      <pc:sldChg chg="addSp delSp modSp ord">
        <pc:chgData name="Jason Geiger" userId="a26a7c1b-7c82-461b-a740-6ed7147e1dda" providerId="ADAL" clId="{5B7DC5A8-074A-9848-9794-7549EF882FA3}" dt="2019-03-01T23:41:27.116" v="4806"/>
        <pc:sldMkLst>
          <pc:docMk/>
          <pc:sldMk cId="2925755258" sldId="8283"/>
        </pc:sldMkLst>
        <pc:spChg chg="mod">
          <ac:chgData name="Jason Geiger" userId="a26a7c1b-7c82-461b-a740-6ed7147e1dda" providerId="ADAL" clId="{5B7DC5A8-074A-9848-9794-7549EF882FA3}" dt="2019-03-01T23:27:23.333" v="4454" actId="20577"/>
          <ac:spMkLst>
            <pc:docMk/>
            <pc:sldMk cId="2925755258" sldId="8283"/>
            <ac:spMk id="4" creationId="{68AEE0ED-654D-7847-9684-334D620B9ECC}"/>
          </ac:spMkLst>
        </pc:spChg>
        <pc:picChg chg="add del mod">
          <ac:chgData name="Jason Geiger" userId="a26a7c1b-7c82-461b-a740-6ed7147e1dda" providerId="ADAL" clId="{5B7DC5A8-074A-9848-9794-7549EF882FA3}" dt="2019-03-01T17:34:32.545" v="2630" actId="478"/>
          <ac:picMkLst>
            <pc:docMk/>
            <pc:sldMk cId="2925755258" sldId="8283"/>
            <ac:picMk id="3" creationId="{EA5BA640-5142-114F-8BE4-B540E8A5CEC7}"/>
          </ac:picMkLst>
        </pc:picChg>
        <pc:picChg chg="del">
          <ac:chgData name="Jason Geiger" userId="a26a7c1b-7c82-461b-a740-6ed7147e1dda" providerId="ADAL" clId="{5B7DC5A8-074A-9848-9794-7549EF882FA3}" dt="2019-03-01T17:34:02.518" v="2626" actId="478"/>
          <ac:picMkLst>
            <pc:docMk/>
            <pc:sldMk cId="2925755258" sldId="8283"/>
            <ac:picMk id="5" creationId="{738A64ED-781C-EE4A-93D9-154BCF6E1F16}"/>
          </ac:picMkLst>
        </pc:picChg>
        <pc:picChg chg="add mod">
          <ac:chgData name="Jason Geiger" userId="a26a7c1b-7c82-461b-a740-6ed7147e1dda" providerId="ADAL" clId="{5B7DC5A8-074A-9848-9794-7549EF882FA3}" dt="2019-03-01T23:26:28.597" v="4452" actId="14100"/>
          <ac:picMkLst>
            <pc:docMk/>
            <pc:sldMk cId="2925755258" sldId="8283"/>
            <ac:picMk id="7" creationId="{5188C135-5BFE-7C45-8F60-C21E26BA3C77}"/>
          </ac:picMkLst>
        </pc:picChg>
      </pc:sldChg>
      <pc:sldChg chg="addSp delSp modSp">
        <pc:chgData name="Jason Geiger" userId="a26a7c1b-7c82-461b-a740-6ed7147e1dda" providerId="ADAL" clId="{5B7DC5A8-074A-9848-9794-7549EF882FA3}" dt="2019-03-01T23:33:47.909" v="4591" actId="1076"/>
        <pc:sldMkLst>
          <pc:docMk/>
          <pc:sldMk cId="2378912510" sldId="8287"/>
        </pc:sldMkLst>
        <pc:spChg chg="mod">
          <ac:chgData name="Jason Geiger" userId="a26a7c1b-7c82-461b-a740-6ed7147e1dda" providerId="ADAL" clId="{5B7DC5A8-074A-9848-9794-7549EF882FA3}" dt="2019-02-28T21:25:57.637" v="1267" actId="20577"/>
          <ac:spMkLst>
            <pc:docMk/>
            <pc:sldMk cId="2378912510" sldId="8287"/>
            <ac:spMk id="3" creationId="{FC73E20C-565C-9048-89A0-703B6FFEB7FA}"/>
          </ac:spMkLst>
        </pc:spChg>
        <pc:spChg chg="del">
          <ac:chgData name="Jason Geiger" userId="a26a7c1b-7c82-461b-a740-6ed7147e1dda" providerId="ADAL" clId="{5B7DC5A8-074A-9848-9794-7549EF882FA3}" dt="2019-02-28T21:25:29.904" v="1234" actId="478"/>
          <ac:spMkLst>
            <pc:docMk/>
            <pc:sldMk cId="2378912510" sldId="8287"/>
            <ac:spMk id="4" creationId="{DB4DF910-D001-DF42-800A-8831DEC083BC}"/>
          </ac:spMkLst>
        </pc:spChg>
        <pc:spChg chg="del">
          <ac:chgData name="Jason Geiger" userId="a26a7c1b-7c82-461b-a740-6ed7147e1dda" providerId="ADAL" clId="{5B7DC5A8-074A-9848-9794-7549EF882FA3}" dt="2019-02-28T21:25:29.904" v="1234" actId="478"/>
          <ac:spMkLst>
            <pc:docMk/>
            <pc:sldMk cId="2378912510" sldId="8287"/>
            <ac:spMk id="7" creationId="{6642EB7C-5D6A-DC42-B5C6-602776F10AE9}"/>
          </ac:spMkLst>
        </pc:spChg>
        <pc:spChg chg="add mod">
          <ac:chgData name="Jason Geiger" userId="a26a7c1b-7c82-461b-a740-6ed7147e1dda" providerId="ADAL" clId="{5B7DC5A8-074A-9848-9794-7549EF882FA3}" dt="2019-02-28T21:26:48.293" v="1286" actId="1076"/>
          <ac:spMkLst>
            <pc:docMk/>
            <pc:sldMk cId="2378912510" sldId="8287"/>
            <ac:spMk id="9" creationId="{181A9B7D-CD37-E045-9A2D-E84D5A626C7D}"/>
          </ac:spMkLst>
        </pc:spChg>
        <pc:picChg chg="add mod modCrop">
          <ac:chgData name="Jason Geiger" userId="a26a7c1b-7c82-461b-a740-6ed7147e1dda" providerId="ADAL" clId="{5B7DC5A8-074A-9848-9794-7549EF882FA3}" dt="2019-03-01T23:33:47.909" v="4591" actId="1076"/>
          <ac:picMkLst>
            <pc:docMk/>
            <pc:sldMk cId="2378912510" sldId="8287"/>
            <ac:picMk id="8" creationId="{49F7E165-E6A3-944A-954E-B09E1D756890}"/>
          </ac:picMkLst>
        </pc:picChg>
        <pc:cxnChg chg="mod">
          <ac:chgData name="Jason Geiger" userId="a26a7c1b-7c82-461b-a740-6ed7147e1dda" providerId="ADAL" clId="{5B7DC5A8-074A-9848-9794-7549EF882FA3}" dt="2019-02-28T21:26:01.480" v="1278" actId="1036"/>
          <ac:cxnSpMkLst>
            <pc:docMk/>
            <pc:sldMk cId="2378912510" sldId="8287"/>
            <ac:cxnSpMk id="5" creationId="{B9340CED-A876-8147-AB76-1ECF84E35F87}"/>
          </ac:cxnSpMkLst>
        </pc:cxnChg>
      </pc:sldChg>
      <pc:sldChg chg="modSp ord">
        <pc:chgData name="Jason Geiger" userId="a26a7c1b-7c82-461b-a740-6ed7147e1dda" providerId="ADAL" clId="{5B7DC5A8-074A-9848-9794-7549EF882FA3}" dt="2019-03-02T00:44:48.840" v="5145" actId="20577"/>
        <pc:sldMkLst>
          <pc:docMk/>
          <pc:sldMk cId="737904764" sldId="8288"/>
        </pc:sldMkLst>
        <pc:spChg chg="mod">
          <ac:chgData name="Jason Geiger" userId="a26a7c1b-7c82-461b-a740-6ed7147e1dda" providerId="ADAL" clId="{5B7DC5A8-074A-9848-9794-7549EF882FA3}" dt="2019-03-02T00:42:47.991" v="5070" actId="2711"/>
          <ac:spMkLst>
            <pc:docMk/>
            <pc:sldMk cId="737904764" sldId="8288"/>
            <ac:spMk id="2" creationId="{BDC0C27B-6CDB-4F11-9F61-8A57AD6ACF3F}"/>
          </ac:spMkLst>
        </pc:spChg>
        <pc:graphicFrameChg chg="modGraphic">
          <ac:chgData name="Jason Geiger" userId="a26a7c1b-7c82-461b-a740-6ed7147e1dda" providerId="ADAL" clId="{5B7DC5A8-074A-9848-9794-7549EF882FA3}" dt="2019-03-02T00:44:48.840" v="5145" actId="20577"/>
          <ac:graphicFrameMkLst>
            <pc:docMk/>
            <pc:sldMk cId="737904764" sldId="8288"/>
            <ac:graphicFrameMk id="4" creationId="{63D62D74-0B9C-4EC4-B849-41A4C650E5FA}"/>
          </ac:graphicFrameMkLst>
        </pc:graphicFrameChg>
      </pc:sldChg>
      <pc:sldChg chg="modSp del ord">
        <pc:chgData name="Jason Geiger" userId="a26a7c1b-7c82-461b-a740-6ed7147e1dda" providerId="ADAL" clId="{5B7DC5A8-074A-9848-9794-7549EF882FA3}" dt="2019-03-01T23:15:59.181" v="4152" actId="2696"/>
        <pc:sldMkLst>
          <pc:docMk/>
          <pc:sldMk cId="3112522202" sldId="8289"/>
        </pc:sldMkLst>
        <pc:spChg chg="mod">
          <ac:chgData name="Jason Geiger" userId="a26a7c1b-7c82-461b-a740-6ed7147e1dda" providerId="ADAL" clId="{5B7DC5A8-074A-9848-9794-7549EF882FA3}" dt="2019-03-01T21:04:45.989" v="4087" actId="2711"/>
          <ac:spMkLst>
            <pc:docMk/>
            <pc:sldMk cId="3112522202" sldId="8289"/>
            <ac:spMk id="5" creationId="{6C74B358-2721-4ECC-ACF8-25D309631896}"/>
          </ac:spMkLst>
        </pc:spChg>
      </pc:sldChg>
      <pc:sldChg chg="modSp">
        <pc:chgData name="Jason Geiger" userId="a26a7c1b-7c82-461b-a740-6ed7147e1dda" providerId="ADAL" clId="{5B7DC5A8-074A-9848-9794-7549EF882FA3}" dt="2019-03-02T02:08:25.963" v="5739" actId="20577"/>
        <pc:sldMkLst>
          <pc:docMk/>
          <pc:sldMk cId="622659067" sldId="8294"/>
        </pc:sldMkLst>
        <pc:spChg chg="mod">
          <ac:chgData name="Jason Geiger" userId="a26a7c1b-7c82-461b-a740-6ed7147e1dda" providerId="ADAL" clId="{5B7DC5A8-074A-9848-9794-7549EF882FA3}" dt="2019-03-02T02:08:25.963" v="5739" actId="20577"/>
          <ac:spMkLst>
            <pc:docMk/>
            <pc:sldMk cId="622659067" sldId="8294"/>
            <ac:spMk id="2" creationId="{043E1B0F-756E-4E4C-9FD6-E90A84772F80}"/>
          </ac:spMkLst>
        </pc:spChg>
      </pc:sldChg>
      <pc:sldChg chg="modSp ord">
        <pc:chgData name="Jason Geiger" userId="a26a7c1b-7c82-461b-a740-6ed7147e1dda" providerId="ADAL" clId="{5B7DC5A8-074A-9848-9794-7549EF882FA3}" dt="2019-03-01T23:31:03.638" v="4582" actId="20577"/>
        <pc:sldMkLst>
          <pc:docMk/>
          <pc:sldMk cId="3513672135" sldId="8295"/>
        </pc:sldMkLst>
        <pc:spChg chg="mod">
          <ac:chgData name="Jason Geiger" userId="a26a7c1b-7c82-461b-a740-6ed7147e1dda" providerId="ADAL" clId="{5B7DC5A8-074A-9848-9794-7549EF882FA3}" dt="2019-03-01T23:31:03.638" v="4582" actId="20577"/>
          <ac:spMkLst>
            <pc:docMk/>
            <pc:sldMk cId="3513672135" sldId="8295"/>
            <ac:spMk id="6" creationId="{F72B6EA8-AC02-4417-9830-BEDCAD1CD298}"/>
          </ac:spMkLst>
        </pc:spChg>
      </pc:sldChg>
      <pc:sldChg chg="modSp ord">
        <pc:chgData name="Jason Geiger" userId="a26a7c1b-7c82-461b-a740-6ed7147e1dda" providerId="ADAL" clId="{5B7DC5A8-074A-9848-9794-7549EF882FA3}" dt="2019-03-01T23:41:27.116" v="4806"/>
        <pc:sldMkLst>
          <pc:docMk/>
          <pc:sldMk cId="2186159028" sldId="8296"/>
        </pc:sldMkLst>
        <pc:spChg chg="mod">
          <ac:chgData name="Jason Geiger" userId="a26a7c1b-7c82-461b-a740-6ed7147e1dda" providerId="ADAL" clId="{5B7DC5A8-074A-9848-9794-7549EF882FA3}" dt="2019-02-28T22:10:48.579" v="1469" actId="20577"/>
          <ac:spMkLst>
            <pc:docMk/>
            <pc:sldMk cId="2186159028" sldId="8296"/>
            <ac:spMk id="2" creationId="{043E1B0F-756E-4E4C-9FD6-E90A84772F80}"/>
          </ac:spMkLst>
        </pc:spChg>
      </pc:sldChg>
      <pc:sldChg chg="addSp delSp modSp">
        <pc:chgData name="Jason Geiger" userId="a26a7c1b-7c82-461b-a740-6ed7147e1dda" providerId="ADAL" clId="{5B7DC5A8-074A-9848-9794-7549EF882FA3}" dt="2019-03-02T01:57:08.062" v="5729"/>
        <pc:sldMkLst>
          <pc:docMk/>
          <pc:sldMk cId="1775308430" sldId="8297"/>
        </pc:sldMkLst>
        <pc:picChg chg="mod">
          <ac:chgData name="Jason Geiger" userId="a26a7c1b-7c82-461b-a740-6ed7147e1dda" providerId="ADAL" clId="{5B7DC5A8-074A-9848-9794-7549EF882FA3}" dt="2019-03-02T01:57:03.463" v="5728" actId="1037"/>
          <ac:picMkLst>
            <pc:docMk/>
            <pc:sldMk cId="1775308430" sldId="8297"/>
            <ac:picMk id="3" creationId="{F5FA118D-4C50-9C4B-9EFF-B7AA649309BC}"/>
          </ac:picMkLst>
        </pc:picChg>
        <pc:picChg chg="add del mod">
          <ac:chgData name="Jason Geiger" userId="a26a7c1b-7c82-461b-a740-6ed7147e1dda" providerId="ADAL" clId="{5B7DC5A8-074A-9848-9794-7549EF882FA3}" dt="2019-03-02T01:57:08.062" v="5729"/>
          <ac:picMkLst>
            <pc:docMk/>
            <pc:sldMk cId="1775308430" sldId="8297"/>
            <ac:picMk id="5" creationId="{5A5F6D39-7788-6741-BFCD-85D759798461}"/>
          </ac:picMkLst>
        </pc:picChg>
        <pc:picChg chg="add del">
          <ac:chgData name="Jason Geiger" userId="a26a7c1b-7c82-461b-a740-6ed7147e1dda" providerId="ADAL" clId="{5B7DC5A8-074A-9848-9794-7549EF882FA3}" dt="2019-03-01T23:14:47.779" v="4148" actId="478"/>
          <ac:picMkLst>
            <pc:docMk/>
            <pc:sldMk cId="1775308430" sldId="8297"/>
            <ac:picMk id="5" creationId="{910B5A32-6F3D-C54F-B323-F4228DF45DB4}"/>
          </ac:picMkLst>
        </pc:picChg>
      </pc:sldChg>
      <pc:sldChg chg="addSp delSp modSp ord">
        <pc:chgData name="Jason Geiger" userId="a26a7c1b-7c82-461b-a740-6ed7147e1dda" providerId="ADAL" clId="{5B7DC5A8-074A-9848-9794-7549EF882FA3}" dt="2019-03-04T17:42:25.428" v="5740" actId="14826"/>
        <pc:sldMkLst>
          <pc:docMk/>
          <pc:sldMk cId="1838715100" sldId="8302"/>
        </pc:sldMkLst>
        <pc:spChg chg="mod">
          <ac:chgData name="Jason Geiger" userId="a26a7c1b-7c82-461b-a740-6ed7147e1dda" providerId="ADAL" clId="{5B7DC5A8-074A-9848-9794-7549EF882FA3}" dt="2019-02-28T19:04:31.080" v="700" actId="20577"/>
          <ac:spMkLst>
            <pc:docMk/>
            <pc:sldMk cId="1838715100" sldId="8302"/>
            <ac:spMk id="2" creationId="{84815F2D-9528-4504-B590-CE0D517B8494}"/>
          </ac:spMkLst>
        </pc:spChg>
        <pc:spChg chg="add del">
          <ac:chgData name="Jason Geiger" userId="a26a7c1b-7c82-461b-a740-6ed7147e1dda" providerId="ADAL" clId="{5B7DC5A8-074A-9848-9794-7549EF882FA3}" dt="2019-02-28T22:05:45.040" v="1289"/>
          <ac:spMkLst>
            <pc:docMk/>
            <pc:sldMk cId="1838715100" sldId="8302"/>
            <ac:spMk id="3" creationId="{BA9CFA32-B532-4A49-B5E3-DD22C97DC670}"/>
          </ac:spMkLst>
        </pc:spChg>
        <pc:spChg chg="mod">
          <ac:chgData name="Jason Geiger" userId="a26a7c1b-7c82-461b-a740-6ed7147e1dda" providerId="ADAL" clId="{5B7DC5A8-074A-9848-9794-7549EF882FA3}" dt="2019-02-28T22:06:07.181" v="1294" actId="1076"/>
          <ac:spMkLst>
            <pc:docMk/>
            <pc:sldMk cId="1838715100" sldId="8302"/>
            <ac:spMk id="11" creationId="{94FD85C6-A340-7F42-86D1-608DC65195B7}"/>
          </ac:spMkLst>
        </pc:spChg>
        <pc:spChg chg="mod">
          <ac:chgData name="Jason Geiger" userId="a26a7c1b-7c82-461b-a740-6ed7147e1dda" providerId="ADAL" clId="{5B7DC5A8-074A-9848-9794-7549EF882FA3}" dt="2019-02-28T22:06:16.845" v="1300" actId="1036"/>
          <ac:spMkLst>
            <pc:docMk/>
            <pc:sldMk cId="1838715100" sldId="8302"/>
            <ac:spMk id="12" creationId="{224589F2-231C-D34C-92C7-6D00660DCE79}"/>
          </ac:spMkLst>
        </pc:spChg>
        <pc:picChg chg="add del mod">
          <ac:chgData name="Jason Geiger" userId="a26a7c1b-7c82-461b-a740-6ed7147e1dda" providerId="ADAL" clId="{5B7DC5A8-074A-9848-9794-7549EF882FA3}" dt="2019-03-04T17:42:25.428" v="5740" actId="14826"/>
          <ac:picMkLst>
            <pc:docMk/>
            <pc:sldMk cId="1838715100" sldId="8302"/>
            <ac:picMk id="4" creationId="{6E2BCF8B-ADA8-B74F-9384-9FC214FE834B}"/>
          </ac:picMkLst>
        </pc:picChg>
        <pc:cxnChg chg="mod">
          <ac:chgData name="Jason Geiger" userId="a26a7c1b-7c82-461b-a740-6ed7147e1dda" providerId="ADAL" clId="{5B7DC5A8-074A-9848-9794-7549EF882FA3}" dt="2019-02-28T22:06:03.234" v="1293" actId="1076"/>
          <ac:cxnSpMkLst>
            <pc:docMk/>
            <pc:sldMk cId="1838715100" sldId="8302"/>
            <ac:cxnSpMk id="20" creationId="{4623E930-44ED-4742-8EB0-0AEB25D5B9F5}"/>
          </ac:cxnSpMkLst>
        </pc:cxnChg>
        <pc:cxnChg chg="mod">
          <ac:chgData name="Jason Geiger" userId="a26a7c1b-7c82-461b-a740-6ed7147e1dda" providerId="ADAL" clId="{5B7DC5A8-074A-9848-9794-7549EF882FA3}" dt="2019-02-28T22:06:16.845" v="1300" actId="1036"/>
          <ac:cxnSpMkLst>
            <pc:docMk/>
            <pc:sldMk cId="1838715100" sldId="8302"/>
            <ac:cxnSpMk id="21" creationId="{B3FD035A-FDF4-3B48-A383-7A231269950C}"/>
          </ac:cxnSpMkLst>
        </pc:cxnChg>
      </pc:sldChg>
      <pc:sldChg chg="modSp">
        <pc:chgData name="Jason Geiger" userId="a26a7c1b-7c82-461b-a740-6ed7147e1dda" providerId="ADAL" clId="{5B7DC5A8-074A-9848-9794-7549EF882FA3}" dt="2019-03-01T23:12:42.031" v="4144" actId="20577"/>
        <pc:sldMkLst>
          <pc:docMk/>
          <pc:sldMk cId="1114378966" sldId="8304"/>
        </pc:sldMkLst>
        <pc:spChg chg="mod">
          <ac:chgData name="Jason Geiger" userId="a26a7c1b-7c82-461b-a740-6ed7147e1dda" providerId="ADAL" clId="{5B7DC5A8-074A-9848-9794-7549EF882FA3}" dt="2019-03-01T23:12:42.031" v="4144" actId="20577"/>
          <ac:spMkLst>
            <pc:docMk/>
            <pc:sldMk cId="1114378966" sldId="8304"/>
            <ac:spMk id="3" creationId="{5B8F13C0-5812-7D45-A1B9-F16D17CC1283}"/>
          </ac:spMkLst>
        </pc:spChg>
      </pc:sldChg>
      <pc:sldChg chg="del">
        <pc:chgData name="Jason Geiger" userId="a26a7c1b-7c82-461b-a740-6ed7147e1dda" providerId="ADAL" clId="{5B7DC5A8-074A-9848-9794-7549EF882FA3}" dt="2019-02-28T01:16:51.849" v="0" actId="2696"/>
        <pc:sldMkLst>
          <pc:docMk/>
          <pc:sldMk cId="577544533" sldId="8305"/>
        </pc:sldMkLst>
      </pc:sldChg>
      <pc:sldChg chg="modSp add">
        <pc:chgData name="Jason Geiger" userId="a26a7c1b-7c82-461b-a740-6ed7147e1dda" providerId="ADAL" clId="{5B7DC5A8-074A-9848-9794-7549EF882FA3}" dt="2019-03-02T00:01:26.106" v="5067" actId="20577"/>
        <pc:sldMkLst>
          <pc:docMk/>
          <pc:sldMk cId="1591285289" sldId="8305"/>
        </pc:sldMkLst>
        <pc:spChg chg="mod">
          <ac:chgData name="Jason Geiger" userId="a26a7c1b-7c82-461b-a740-6ed7147e1dda" providerId="ADAL" clId="{5B7DC5A8-074A-9848-9794-7549EF882FA3}" dt="2019-03-01T23:21:35.369" v="4310" actId="20577"/>
          <ac:spMkLst>
            <pc:docMk/>
            <pc:sldMk cId="1591285289" sldId="8305"/>
            <ac:spMk id="4" creationId="{0E2BF94F-079D-4342-962D-76D9C45CCDF6}"/>
          </ac:spMkLst>
        </pc:spChg>
        <pc:spChg chg="mod">
          <ac:chgData name="Jason Geiger" userId="a26a7c1b-7c82-461b-a740-6ed7147e1dda" providerId="ADAL" clId="{5B7DC5A8-074A-9848-9794-7549EF882FA3}" dt="2019-03-02T00:01:26.106" v="5067" actId="20577"/>
          <ac:spMkLst>
            <pc:docMk/>
            <pc:sldMk cId="1591285289" sldId="8305"/>
            <ac:spMk id="6" creationId="{A1E8F7C8-C284-8747-8E93-111350A35AD4}"/>
          </ac:spMkLst>
        </pc:spChg>
      </pc:sldChg>
      <pc:sldChg chg="modSp">
        <pc:chgData name="Jason Geiger" userId="a26a7c1b-7c82-461b-a740-6ed7147e1dda" providerId="ADAL" clId="{5B7DC5A8-074A-9848-9794-7549EF882FA3}" dt="2019-02-28T17:39:36.104" v="28" actId="2711"/>
        <pc:sldMkLst>
          <pc:docMk/>
          <pc:sldMk cId="1346553059" sldId="8306"/>
        </pc:sldMkLst>
        <pc:spChg chg="mod">
          <ac:chgData name="Jason Geiger" userId="a26a7c1b-7c82-461b-a740-6ed7147e1dda" providerId="ADAL" clId="{5B7DC5A8-074A-9848-9794-7549EF882FA3}" dt="2019-02-28T17:39:36.104" v="28" actId="2711"/>
          <ac:spMkLst>
            <pc:docMk/>
            <pc:sldMk cId="1346553059" sldId="8306"/>
            <ac:spMk id="2" creationId="{552046E3-F35A-D14F-A0A4-DCC8E07EFBAA}"/>
          </ac:spMkLst>
        </pc:spChg>
      </pc:sldChg>
      <pc:sldChg chg="modSp">
        <pc:chgData name="Jason Geiger" userId="a26a7c1b-7c82-461b-a740-6ed7147e1dda" providerId="ADAL" clId="{5B7DC5A8-074A-9848-9794-7549EF882FA3}" dt="2019-03-02T01:40:01.744" v="5573" actId="255"/>
        <pc:sldMkLst>
          <pc:docMk/>
          <pc:sldMk cId="172949642" sldId="8307"/>
        </pc:sldMkLst>
        <pc:spChg chg="mod">
          <ac:chgData name="Jason Geiger" userId="a26a7c1b-7c82-461b-a740-6ed7147e1dda" providerId="ADAL" clId="{5B7DC5A8-074A-9848-9794-7549EF882FA3}" dt="2019-03-02T01:40:01.744" v="5573" actId="255"/>
          <ac:spMkLst>
            <pc:docMk/>
            <pc:sldMk cId="172949642" sldId="8307"/>
            <ac:spMk id="4" creationId="{F9FA9111-FF2E-CA47-8DFB-76E115D6D00B}"/>
          </ac:spMkLst>
        </pc:spChg>
        <pc:spChg chg="mod">
          <ac:chgData name="Jason Geiger" userId="a26a7c1b-7c82-461b-a740-6ed7147e1dda" providerId="ADAL" clId="{5B7DC5A8-074A-9848-9794-7549EF882FA3}" dt="2019-03-02T00:52:25.966" v="5442" actId="20577"/>
          <ac:spMkLst>
            <pc:docMk/>
            <pc:sldMk cId="172949642" sldId="8307"/>
            <ac:spMk id="5" creationId="{6C74B358-2721-4ECC-ACF8-25D309631896}"/>
          </ac:spMkLst>
        </pc:spChg>
        <pc:spChg chg="mod">
          <ac:chgData name="Jason Geiger" userId="a26a7c1b-7c82-461b-a740-6ed7147e1dda" providerId="ADAL" clId="{5B7DC5A8-074A-9848-9794-7549EF882FA3}" dt="2019-03-01T23:37:32.825" v="4759" actId="20577"/>
          <ac:spMkLst>
            <pc:docMk/>
            <pc:sldMk cId="172949642" sldId="8307"/>
            <ac:spMk id="6" creationId="{F72B6EA8-AC02-4417-9830-BEDCAD1CD298}"/>
          </ac:spMkLst>
        </pc:spChg>
      </pc:sldChg>
      <pc:sldChg chg="addSp delSp modSp modNotesTx">
        <pc:chgData name="Jason Geiger" userId="a26a7c1b-7c82-461b-a740-6ed7147e1dda" providerId="ADAL" clId="{5B7DC5A8-074A-9848-9794-7549EF882FA3}" dt="2019-03-02T01:55:30.167" v="5714" actId="1076"/>
        <pc:sldMkLst>
          <pc:docMk/>
          <pc:sldMk cId="2876334251" sldId="8308"/>
        </pc:sldMkLst>
        <pc:spChg chg="add mod">
          <ac:chgData name="Jason Geiger" userId="a26a7c1b-7c82-461b-a740-6ed7147e1dda" providerId="ADAL" clId="{5B7DC5A8-074A-9848-9794-7549EF882FA3}" dt="2019-03-01T20:48:55.799" v="3851" actId="552"/>
          <ac:spMkLst>
            <pc:docMk/>
            <pc:sldMk cId="2876334251" sldId="8308"/>
            <ac:spMk id="16" creationId="{20A9DAB4-103E-9741-81D8-A6AC52C3CE12}"/>
          </ac:spMkLst>
        </pc:spChg>
        <pc:spChg chg="mod">
          <ac:chgData name="Jason Geiger" userId="a26a7c1b-7c82-461b-a740-6ed7147e1dda" providerId="ADAL" clId="{5B7DC5A8-074A-9848-9794-7549EF882FA3}" dt="2019-03-02T01:55:04.179" v="5711" actId="20577"/>
          <ac:spMkLst>
            <pc:docMk/>
            <pc:sldMk cId="2876334251" sldId="8308"/>
            <ac:spMk id="27" creationId="{4DF9FC37-060E-ED4E-954F-07F77723D2EA}"/>
          </ac:spMkLst>
        </pc:spChg>
        <pc:spChg chg="mod">
          <ac:chgData name="Jason Geiger" userId="a26a7c1b-7c82-461b-a740-6ed7147e1dda" providerId="ADAL" clId="{5B7DC5A8-074A-9848-9794-7549EF882FA3}" dt="2019-03-01T20:48:55.799" v="3851" actId="552"/>
          <ac:spMkLst>
            <pc:docMk/>
            <pc:sldMk cId="2876334251" sldId="8308"/>
            <ac:spMk id="28" creationId="{E413013D-822F-AE4F-A85E-258FDB65F8E2}"/>
          </ac:spMkLst>
        </pc:spChg>
        <pc:spChg chg="mod">
          <ac:chgData name="Jason Geiger" userId="a26a7c1b-7c82-461b-a740-6ed7147e1dda" providerId="ADAL" clId="{5B7DC5A8-074A-9848-9794-7549EF882FA3}" dt="2019-03-01T20:50:37.390" v="3956" actId="20577"/>
          <ac:spMkLst>
            <pc:docMk/>
            <pc:sldMk cId="2876334251" sldId="8308"/>
            <ac:spMk id="30" creationId="{F93587ED-B0FB-DD43-A85E-DF1B217C1E46}"/>
          </ac:spMkLst>
        </pc:spChg>
        <pc:spChg chg="del">
          <ac:chgData name="Jason Geiger" userId="a26a7c1b-7c82-461b-a740-6ed7147e1dda" providerId="ADAL" clId="{5B7DC5A8-074A-9848-9794-7549EF882FA3}" dt="2019-03-01T00:59:36.173" v="2067" actId="478"/>
          <ac:spMkLst>
            <pc:docMk/>
            <pc:sldMk cId="2876334251" sldId="8308"/>
            <ac:spMk id="31" creationId="{30E7A757-DDBE-C943-BB87-A81C7458286E}"/>
          </ac:spMkLst>
        </pc:spChg>
        <pc:spChg chg="mod">
          <ac:chgData name="Jason Geiger" userId="a26a7c1b-7c82-461b-a740-6ed7147e1dda" providerId="ADAL" clId="{5B7DC5A8-074A-9848-9794-7549EF882FA3}" dt="2019-03-02T01:55:30.167" v="5714" actId="1076"/>
          <ac:spMkLst>
            <pc:docMk/>
            <pc:sldMk cId="2876334251" sldId="8308"/>
            <ac:spMk id="36" creationId="{A138FB12-209E-EE4F-998D-2B0DB21CAE0E}"/>
          </ac:spMkLst>
        </pc:spChg>
        <pc:spChg chg="mod">
          <ac:chgData name="Jason Geiger" userId="a26a7c1b-7c82-461b-a740-6ed7147e1dda" providerId="ADAL" clId="{5B7DC5A8-074A-9848-9794-7549EF882FA3}" dt="2019-03-01T20:50:27.096" v="3955" actId="1035"/>
          <ac:spMkLst>
            <pc:docMk/>
            <pc:sldMk cId="2876334251" sldId="8308"/>
            <ac:spMk id="38" creationId="{0BC20A46-A9CD-CB48-8678-BE2DDAD32EEC}"/>
          </ac:spMkLst>
        </pc:spChg>
        <pc:spChg chg="mod">
          <ac:chgData name="Jason Geiger" userId="a26a7c1b-7c82-461b-a740-6ed7147e1dda" providerId="ADAL" clId="{5B7DC5A8-074A-9848-9794-7549EF882FA3}" dt="2019-03-02T01:53:48.336" v="5699" actId="20577"/>
          <ac:spMkLst>
            <pc:docMk/>
            <pc:sldMk cId="2876334251" sldId="8308"/>
            <ac:spMk id="40" creationId="{7D04AEAB-F478-EF4B-AEFC-A606151C9581}"/>
          </ac:spMkLst>
        </pc:spChg>
        <pc:picChg chg="mod">
          <ac:chgData name="Jason Geiger" userId="a26a7c1b-7c82-461b-a740-6ed7147e1dda" providerId="ADAL" clId="{5B7DC5A8-074A-9848-9794-7549EF882FA3}" dt="2019-03-02T01:49:00.481" v="5584" actId="18331"/>
          <ac:picMkLst>
            <pc:docMk/>
            <pc:sldMk cId="2876334251" sldId="8308"/>
            <ac:picMk id="5" creationId="{07627760-324A-0C4C-90BE-92C7788846C9}"/>
          </ac:picMkLst>
        </pc:picChg>
        <pc:cxnChg chg="add mod">
          <ac:chgData name="Jason Geiger" userId="a26a7c1b-7c82-461b-a740-6ed7147e1dda" providerId="ADAL" clId="{5B7DC5A8-074A-9848-9794-7549EF882FA3}" dt="2019-03-01T20:51:09.123" v="3981" actId="553"/>
          <ac:cxnSpMkLst>
            <pc:docMk/>
            <pc:sldMk cId="2876334251" sldId="8308"/>
            <ac:cxnSpMk id="17" creationId="{2AB51C76-80E9-D44D-9B9F-EDFA7141C4FA}"/>
          </ac:cxnSpMkLst>
        </pc:cxnChg>
        <pc:cxnChg chg="add mod">
          <ac:chgData name="Jason Geiger" userId="a26a7c1b-7c82-461b-a740-6ed7147e1dda" providerId="ADAL" clId="{5B7DC5A8-074A-9848-9794-7549EF882FA3}" dt="2019-03-01T20:51:09.123" v="3981" actId="553"/>
          <ac:cxnSpMkLst>
            <pc:docMk/>
            <pc:sldMk cId="2876334251" sldId="8308"/>
            <ac:cxnSpMk id="18" creationId="{41502214-C055-C342-8EBF-A483E98B13EB}"/>
          </ac:cxnSpMkLst>
        </pc:cxnChg>
        <pc:cxnChg chg="add mod">
          <ac:chgData name="Jason Geiger" userId="a26a7c1b-7c82-461b-a740-6ed7147e1dda" providerId="ADAL" clId="{5B7DC5A8-074A-9848-9794-7549EF882FA3}" dt="2019-03-02T01:55:01.939" v="5709" actId="1035"/>
          <ac:cxnSpMkLst>
            <pc:docMk/>
            <pc:sldMk cId="2876334251" sldId="8308"/>
            <ac:cxnSpMk id="19" creationId="{ADB0299D-D66C-BD4E-95AB-D1DB1CC1897C}"/>
          </ac:cxnSpMkLst>
        </pc:cxnChg>
        <pc:cxnChg chg="add mod">
          <ac:chgData name="Jason Geiger" userId="a26a7c1b-7c82-461b-a740-6ed7147e1dda" providerId="ADAL" clId="{5B7DC5A8-074A-9848-9794-7549EF882FA3}" dt="2019-03-01T20:45:28.419" v="3773" actId="1035"/>
          <ac:cxnSpMkLst>
            <pc:docMk/>
            <pc:sldMk cId="2876334251" sldId="8308"/>
            <ac:cxnSpMk id="23" creationId="{9705DDAC-5D69-5449-9756-320E3FD6A797}"/>
          </ac:cxnSpMkLst>
        </pc:cxnChg>
        <pc:cxnChg chg="add mod">
          <ac:chgData name="Jason Geiger" userId="a26a7c1b-7c82-461b-a740-6ed7147e1dda" providerId="ADAL" clId="{5B7DC5A8-074A-9848-9794-7549EF882FA3}" dt="2019-03-02T01:55:25.218" v="5713" actId="1076"/>
          <ac:cxnSpMkLst>
            <pc:docMk/>
            <pc:sldMk cId="2876334251" sldId="8308"/>
            <ac:cxnSpMk id="29" creationId="{D8A94B70-D5CA-B841-9C8E-DB3B1706141F}"/>
          </ac:cxnSpMkLst>
        </pc:cxnChg>
        <pc:cxnChg chg="del mod">
          <ac:chgData name="Jason Geiger" userId="a26a7c1b-7c82-461b-a740-6ed7147e1dda" providerId="ADAL" clId="{5B7DC5A8-074A-9848-9794-7549EF882FA3}" dt="2019-03-01T01:01:20.536" v="2124" actId="478"/>
          <ac:cxnSpMkLst>
            <pc:docMk/>
            <pc:sldMk cId="2876334251" sldId="8308"/>
            <ac:cxnSpMk id="32" creationId="{E4D06137-6FDD-1F4F-BE09-664F1C21E039}"/>
          </ac:cxnSpMkLst>
        </pc:cxnChg>
        <pc:cxnChg chg="add del mod">
          <ac:chgData name="Jason Geiger" userId="a26a7c1b-7c82-461b-a740-6ed7147e1dda" providerId="ADAL" clId="{5B7DC5A8-074A-9848-9794-7549EF882FA3}" dt="2019-03-01T01:01:31.580" v="2162"/>
          <ac:cxnSpMkLst>
            <pc:docMk/>
            <pc:sldMk cId="2876334251" sldId="8308"/>
            <ac:cxnSpMk id="33" creationId="{96A29206-6930-EC4B-92BF-D70F96F6A5E0}"/>
          </ac:cxnSpMkLst>
        </pc:cxnChg>
        <pc:cxnChg chg="del mod">
          <ac:chgData name="Jason Geiger" userId="a26a7c1b-7c82-461b-a740-6ed7147e1dda" providerId="ADAL" clId="{5B7DC5A8-074A-9848-9794-7549EF882FA3}" dt="2019-03-01T00:59:19.970" v="2018" actId="478"/>
          <ac:cxnSpMkLst>
            <pc:docMk/>
            <pc:sldMk cId="2876334251" sldId="8308"/>
            <ac:cxnSpMk id="34" creationId="{6FFC8CFE-B4E5-654F-A325-0ADF508B6592}"/>
          </ac:cxnSpMkLst>
        </pc:cxnChg>
        <pc:cxnChg chg="del">
          <ac:chgData name="Jason Geiger" userId="a26a7c1b-7c82-461b-a740-6ed7147e1dda" providerId="ADAL" clId="{5B7DC5A8-074A-9848-9794-7549EF882FA3}" dt="2019-03-01T00:59:36.173" v="2067" actId="478"/>
          <ac:cxnSpMkLst>
            <pc:docMk/>
            <pc:sldMk cId="2876334251" sldId="8308"/>
            <ac:cxnSpMk id="35" creationId="{C3EC42D0-1CC6-AB49-B8C3-4FB5856B9CAE}"/>
          </ac:cxnSpMkLst>
        </pc:cxnChg>
        <pc:cxnChg chg="add del mod">
          <ac:chgData name="Jason Geiger" userId="a26a7c1b-7c82-461b-a740-6ed7147e1dda" providerId="ADAL" clId="{5B7DC5A8-074A-9848-9794-7549EF882FA3}" dt="2019-03-02T01:54:03.748" v="5703" actId="478"/>
          <ac:cxnSpMkLst>
            <pc:docMk/>
            <pc:sldMk cId="2876334251" sldId="8308"/>
            <ac:cxnSpMk id="37" creationId="{49E15A47-50B5-B543-BE89-1CFA9FE840BA}"/>
          </ac:cxnSpMkLst>
        </pc:cxnChg>
        <pc:cxnChg chg="mod">
          <ac:chgData name="Jason Geiger" userId="a26a7c1b-7c82-461b-a740-6ed7147e1dda" providerId="ADAL" clId="{5B7DC5A8-074A-9848-9794-7549EF882FA3}" dt="2019-03-01T20:50:27.096" v="3955" actId="1035"/>
          <ac:cxnSpMkLst>
            <pc:docMk/>
            <pc:sldMk cId="2876334251" sldId="8308"/>
            <ac:cxnSpMk id="39" creationId="{DBE71A14-6CC1-394D-932E-A96529F8550C}"/>
          </ac:cxnSpMkLst>
        </pc:cxnChg>
        <pc:cxnChg chg="add del mod">
          <ac:chgData name="Jason Geiger" userId="a26a7c1b-7c82-461b-a740-6ed7147e1dda" providerId="ADAL" clId="{5B7DC5A8-074A-9848-9794-7549EF882FA3}" dt="2019-03-01T20:48:59.572" v="3852" actId="478"/>
          <ac:cxnSpMkLst>
            <pc:docMk/>
            <pc:sldMk cId="2876334251" sldId="8308"/>
            <ac:cxnSpMk id="41" creationId="{0F4B8662-BFB3-874B-AF9E-4107F9F4293F}"/>
          </ac:cxnSpMkLst>
        </pc:cxnChg>
        <pc:cxnChg chg="del">
          <ac:chgData name="Jason Geiger" userId="a26a7c1b-7c82-461b-a740-6ed7147e1dda" providerId="ADAL" clId="{5B7DC5A8-074A-9848-9794-7549EF882FA3}" dt="2019-02-28T22:06:51.435" v="1303" actId="478"/>
          <ac:cxnSpMkLst>
            <pc:docMk/>
            <pc:sldMk cId="2876334251" sldId="8308"/>
            <ac:cxnSpMk id="42" creationId="{4A9E55E8-63AF-934C-A0B9-9F9C4B6B6E6F}"/>
          </ac:cxnSpMkLst>
        </pc:cxnChg>
        <pc:cxnChg chg="del mod">
          <ac:chgData name="Jason Geiger" userId="a26a7c1b-7c82-461b-a740-6ed7147e1dda" providerId="ADAL" clId="{5B7DC5A8-074A-9848-9794-7549EF882FA3}" dt="2019-03-01T01:01:18.927" v="2123" actId="478"/>
          <ac:cxnSpMkLst>
            <pc:docMk/>
            <pc:sldMk cId="2876334251" sldId="8308"/>
            <ac:cxnSpMk id="45" creationId="{6AA6E601-00C1-7B4C-BF66-05CAF8474207}"/>
          </ac:cxnSpMkLst>
        </pc:cxnChg>
        <pc:cxnChg chg="mod">
          <ac:chgData name="Jason Geiger" userId="a26a7c1b-7c82-461b-a740-6ed7147e1dda" providerId="ADAL" clId="{5B7DC5A8-074A-9848-9794-7549EF882FA3}" dt="2019-03-01T20:45:19.651" v="3759" actId="1035"/>
          <ac:cxnSpMkLst>
            <pc:docMk/>
            <pc:sldMk cId="2876334251" sldId="8308"/>
            <ac:cxnSpMk id="46" creationId="{F58FEB4A-C02B-7441-A701-8A42902071AA}"/>
          </ac:cxnSpMkLst>
        </pc:cxnChg>
      </pc:sldChg>
      <pc:sldChg chg="del">
        <pc:chgData name="Jason Geiger" userId="a26a7c1b-7c82-461b-a740-6ed7147e1dda" providerId="ADAL" clId="{5B7DC5A8-074A-9848-9794-7549EF882FA3}" dt="2019-03-02T00:43:18.623" v="5073" actId="2696"/>
        <pc:sldMkLst>
          <pc:docMk/>
          <pc:sldMk cId="3717531504" sldId="8309"/>
        </pc:sldMkLst>
      </pc:sldChg>
      <pc:sldChg chg="del">
        <pc:chgData name="Jason Geiger" userId="a26a7c1b-7c82-461b-a740-6ed7147e1dda" providerId="ADAL" clId="{5B7DC5A8-074A-9848-9794-7549EF882FA3}" dt="2019-02-28T17:40:31.247" v="34" actId="2696"/>
        <pc:sldMkLst>
          <pc:docMk/>
          <pc:sldMk cId="1759160167" sldId="8310"/>
        </pc:sldMkLst>
      </pc:sldChg>
      <pc:sldChg chg="modSp add del ord">
        <pc:chgData name="Jason Geiger" userId="a26a7c1b-7c82-461b-a740-6ed7147e1dda" providerId="ADAL" clId="{5B7DC5A8-074A-9848-9794-7549EF882FA3}" dt="2019-03-01T21:06:01.212" v="4088" actId="2696"/>
        <pc:sldMkLst>
          <pc:docMk/>
          <pc:sldMk cId="747780853" sldId="8311"/>
        </pc:sldMkLst>
        <pc:spChg chg="mod">
          <ac:chgData name="Jason Geiger" userId="a26a7c1b-7c82-461b-a740-6ed7147e1dda" providerId="ADAL" clId="{5B7DC5A8-074A-9848-9794-7549EF882FA3}" dt="2019-02-28T19:37:20.274" v="1170" actId="20577"/>
          <ac:spMkLst>
            <pc:docMk/>
            <pc:sldMk cId="747780853" sldId="8311"/>
            <ac:spMk id="2" creationId="{552046E3-F35A-D14F-A0A4-DCC8E07EFBAA}"/>
          </ac:spMkLst>
        </pc:spChg>
        <pc:spChg chg="mod">
          <ac:chgData name="Jason Geiger" userId="a26a7c1b-7c82-461b-a740-6ed7147e1dda" providerId="ADAL" clId="{5B7DC5A8-074A-9848-9794-7549EF882FA3}" dt="2019-02-28T19:47:59.650" v="1233" actId="20577"/>
          <ac:spMkLst>
            <pc:docMk/>
            <pc:sldMk cId="747780853" sldId="8311"/>
            <ac:spMk id="3" creationId="{F2A8B4D8-1B67-844D-AE56-ABA66B58756C}"/>
          </ac:spMkLst>
        </pc:spChg>
      </pc:sldChg>
      <pc:sldChg chg="add del">
        <pc:chgData name="Jason Geiger" userId="a26a7c1b-7c82-461b-a740-6ed7147e1dda" providerId="ADAL" clId="{5B7DC5A8-074A-9848-9794-7549EF882FA3}" dt="2019-02-28T17:38:51.114" v="23"/>
        <pc:sldMkLst>
          <pc:docMk/>
          <pc:sldMk cId="1249933509" sldId="8312"/>
        </pc:sldMkLst>
      </pc:sldChg>
      <pc:sldChg chg="modSp add ord">
        <pc:chgData name="Jason Geiger" userId="a26a7c1b-7c82-461b-a740-6ed7147e1dda" providerId="ADAL" clId="{5B7DC5A8-074A-9848-9794-7549EF882FA3}" dt="2019-03-01T23:41:27.116" v="4806"/>
        <pc:sldMkLst>
          <pc:docMk/>
          <pc:sldMk cId="2363607792" sldId="8312"/>
        </pc:sldMkLst>
        <pc:spChg chg="mod">
          <ac:chgData name="Jason Geiger" userId="a26a7c1b-7c82-461b-a740-6ed7147e1dda" providerId="ADAL" clId="{5B7DC5A8-074A-9848-9794-7549EF882FA3}" dt="2019-03-01T23:24:35.519" v="4403" actId="20577"/>
          <ac:spMkLst>
            <pc:docMk/>
            <pc:sldMk cId="2363607792" sldId="8312"/>
            <ac:spMk id="2" creationId="{552046E3-F35A-D14F-A0A4-DCC8E07EFBAA}"/>
          </ac:spMkLst>
        </pc:spChg>
        <pc:spChg chg="mod">
          <ac:chgData name="Jason Geiger" userId="a26a7c1b-7c82-461b-a740-6ed7147e1dda" providerId="ADAL" clId="{5B7DC5A8-074A-9848-9794-7549EF882FA3}" dt="2019-03-01T23:13:33.349" v="4146" actId="27636"/>
          <ac:spMkLst>
            <pc:docMk/>
            <pc:sldMk cId="2363607792" sldId="8312"/>
            <ac:spMk id="3" creationId="{F2A8B4D8-1B67-844D-AE56-ABA66B58756C}"/>
          </ac:spMkLst>
        </pc:spChg>
      </pc:sldChg>
      <pc:sldChg chg="addSp delSp modSp add">
        <pc:chgData name="Jason Geiger" userId="a26a7c1b-7c82-461b-a740-6ed7147e1dda" providerId="ADAL" clId="{5B7DC5A8-074A-9848-9794-7549EF882FA3}" dt="2019-02-28T17:54:16.113" v="532" actId="113"/>
        <pc:sldMkLst>
          <pc:docMk/>
          <pc:sldMk cId="1241190960" sldId="8313"/>
        </pc:sldMkLst>
        <pc:spChg chg="mod">
          <ac:chgData name="Jason Geiger" userId="a26a7c1b-7c82-461b-a740-6ed7147e1dda" providerId="ADAL" clId="{5B7DC5A8-074A-9848-9794-7549EF882FA3}" dt="2019-02-28T17:46:14.430" v="368" actId="20577"/>
          <ac:spMkLst>
            <pc:docMk/>
            <pc:sldMk cId="1241190960" sldId="8313"/>
            <ac:spMk id="2" creationId="{B11E3BBB-A544-40F1-9A28-7825924A62A4}"/>
          </ac:spMkLst>
        </pc:spChg>
        <pc:spChg chg="del">
          <ac:chgData name="Jason Geiger" userId="a26a7c1b-7c82-461b-a740-6ed7147e1dda" providerId="ADAL" clId="{5B7DC5A8-074A-9848-9794-7549EF882FA3}" dt="2019-02-28T17:45:55.572" v="340" actId="478"/>
          <ac:spMkLst>
            <pc:docMk/>
            <pc:sldMk cId="1241190960" sldId="8313"/>
            <ac:spMk id="7" creationId="{F8A28880-71B1-4280-9CC7-ECC20EC03DE4}"/>
          </ac:spMkLst>
        </pc:spChg>
        <pc:spChg chg="add mod topLvl">
          <ac:chgData name="Jason Geiger" userId="a26a7c1b-7c82-461b-a740-6ed7147e1dda" providerId="ADAL" clId="{5B7DC5A8-074A-9848-9794-7549EF882FA3}" dt="2019-02-28T17:49:49.826" v="403" actId="164"/>
          <ac:spMkLst>
            <pc:docMk/>
            <pc:sldMk cId="1241190960" sldId="8313"/>
            <ac:spMk id="11" creationId="{21F5638C-440E-C848-9A40-80F06E3E2BA4}"/>
          </ac:spMkLst>
        </pc:spChg>
        <pc:spChg chg="add mod topLvl">
          <ac:chgData name="Jason Geiger" userId="a26a7c1b-7c82-461b-a740-6ed7147e1dda" providerId="ADAL" clId="{5B7DC5A8-074A-9848-9794-7549EF882FA3}" dt="2019-02-28T17:49:49.826" v="403" actId="164"/>
          <ac:spMkLst>
            <pc:docMk/>
            <pc:sldMk cId="1241190960" sldId="8313"/>
            <ac:spMk id="12" creationId="{B130AB48-07B2-F440-A2D6-4A523F836F3D}"/>
          </ac:spMkLst>
        </pc:spChg>
        <pc:spChg chg="add mod">
          <ac:chgData name="Jason Geiger" userId="a26a7c1b-7c82-461b-a740-6ed7147e1dda" providerId="ADAL" clId="{5B7DC5A8-074A-9848-9794-7549EF882FA3}" dt="2019-02-28T17:51:18.034" v="441" actId="1036"/>
          <ac:spMkLst>
            <pc:docMk/>
            <pc:sldMk cId="1241190960" sldId="8313"/>
            <ac:spMk id="13" creationId="{81B6F972-BD0A-CD47-AFE4-D7F47B19B31E}"/>
          </ac:spMkLst>
        </pc:spChg>
        <pc:spChg chg="add mod">
          <ac:chgData name="Jason Geiger" userId="a26a7c1b-7c82-461b-a740-6ed7147e1dda" providerId="ADAL" clId="{5B7DC5A8-074A-9848-9794-7549EF882FA3}" dt="2019-02-28T17:52:21.440" v="490" actId="1037"/>
          <ac:spMkLst>
            <pc:docMk/>
            <pc:sldMk cId="1241190960" sldId="8313"/>
            <ac:spMk id="15" creationId="{63282331-4223-4342-9D03-E1576FB1B9A1}"/>
          </ac:spMkLst>
        </pc:spChg>
        <pc:spChg chg="add mod">
          <ac:chgData name="Jason Geiger" userId="a26a7c1b-7c82-461b-a740-6ed7147e1dda" providerId="ADAL" clId="{5B7DC5A8-074A-9848-9794-7549EF882FA3}" dt="2019-02-28T17:52:21.440" v="490" actId="1037"/>
          <ac:spMkLst>
            <pc:docMk/>
            <pc:sldMk cId="1241190960" sldId="8313"/>
            <ac:spMk id="16" creationId="{C86ABFE3-2620-4641-9CB8-94FAFF6EC0BC}"/>
          </ac:spMkLst>
        </pc:spChg>
        <pc:spChg chg="add mod">
          <ac:chgData name="Jason Geiger" userId="a26a7c1b-7c82-461b-a740-6ed7147e1dda" providerId="ADAL" clId="{5B7DC5A8-074A-9848-9794-7549EF882FA3}" dt="2019-02-28T17:52:27.329" v="494" actId="20577"/>
          <ac:spMkLst>
            <pc:docMk/>
            <pc:sldMk cId="1241190960" sldId="8313"/>
            <ac:spMk id="17" creationId="{31E10BFE-C622-3446-A3F5-68AA6F71C36E}"/>
          </ac:spMkLst>
        </pc:spChg>
        <pc:spChg chg="add mod">
          <ac:chgData name="Jason Geiger" userId="a26a7c1b-7c82-461b-a740-6ed7147e1dda" providerId="ADAL" clId="{5B7DC5A8-074A-9848-9794-7549EF882FA3}" dt="2019-02-28T17:52:41.463" v="504" actId="1076"/>
          <ac:spMkLst>
            <pc:docMk/>
            <pc:sldMk cId="1241190960" sldId="8313"/>
            <ac:spMk id="18" creationId="{10F95EFB-8A7B-7845-B447-559192C1FE0E}"/>
          </ac:spMkLst>
        </pc:spChg>
        <pc:spChg chg="add mod">
          <ac:chgData name="Jason Geiger" userId="a26a7c1b-7c82-461b-a740-6ed7147e1dda" providerId="ADAL" clId="{5B7DC5A8-074A-9848-9794-7549EF882FA3}" dt="2019-02-28T17:54:16.113" v="532" actId="113"/>
          <ac:spMkLst>
            <pc:docMk/>
            <pc:sldMk cId="1241190960" sldId="8313"/>
            <ac:spMk id="19" creationId="{4D438BFA-9D7A-D74B-B49F-2543CD5E6B7B}"/>
          </ac:spMkLst>
        </pc:spChg>
        <pc:grpChg chg="add del mod">
          <ac:chgData name="Jason Geiger" userId="a26a7c1b-7c82-461b-a740-6ed7147e1dda" providerId="ADAL" clId="{5B7DC5A8-074A-9848-9794-7549EF882FA3}" dt="2019-02-28T17:49:28.424" v="399" actId="165"/>
          <ac:grpSpMkLst>
            <pc:docMk/>
            <pc:sldMk cId="1241190960" sldId="8313"/>
            <ac:grpSpMk id="3" creationId="{765C7311-C4EA-3E47-BE37-C02D76FCBBCC}"/>
          </ac:grpSpMkLst>
        </pc:grpChg>
        <pc:grpChg chg="add mod">
          <ac:chgData name="Jason Geiger" userId="a26a7c1b-7c82-461b-a740-6ed7147e1dda" providerId="ADAL" clId="{5B7DC5A8-074A-9848-9794-7549EF882FA3}" dt="2019-02-28T17:52:21.440" v="490" actId="1037"/>
          <ac:grpSpMkLst>
            <pc:docMk/>
            <pc:sldMk cId="1241190960" sldId="8313"/>
            <ac:grpSpMk id="4" creationId="{8999189D-5282-ED41-9FA3-D4B667449D5D}"/>
          </ac:grpSpMkLst>
        </pc:grpChg>
        <pc:picChg chg="add mod">
          <ac:chgData name="Jason Geiger" userId="a26a7c1b-7c82-461b-a740-6ed7147e1dda" providerId="ADAL" clId="{5B7DC5A8-074A-9848-9794-7549EF882FA3}" dt="2019-02-28T17:50:40.954" v="409" actId="1076"/>
          <ac:picMkLst>
            <pc:docMk/>
            <pc:sldMk cId="1241190960" sldId="8313"/>
            <ac:picMk id="5" creationId="{FBF3DB12-E2D3-A04A-9D2D-4ACE94E39838}"/>
          </ac:picMkLst>
        </pc:picChg>
        <pc:picChg chg="add mod">
          <ac:chgData name="Jason Geiger" userId="a26a7c1b-7c82-461b-a740-6ed7147e1dda" providerId="ADAL" clId="{5B7DC5A8-074A-9848-9794-7549EF882FA3}" dt="2019-02-28T17:52:21.440" v="490" actId="1037"/>
          <ac:picMkLst>
            <pc:docMk/>
            <pc:sldMk cId="1241190960" sldId="8313"/>
            <ac:picMk id="6" creationId="{AF146C23-BC81-E74C-BE5D-2CE680E5BCD0}"/>
          </ac:picMkLst>
        </pc:picChg>
        <pc:picChg chg="add mod">
          <ac:chgData name="Jason Geiger" userId="a26a7c1b-7c82-461b-a740-6ed7147e1dda" providerId="ADAL" clId="{5B7DC5A8-074A-9848-9794-7549EF882FA3}" dt="2019-02-28T17:52:21.440" v="490" actId="1037"/>
          <ac:picMkLst>
            <pc:docMk/>
            <pc:sldMk cId="1241190960" sldId="8313"/>
            <ac:picMk id="8" creationId="{AFA86F48-3CD6-E140-81F1-946475E34B30}"/>
          </ac:picMkLst>
        </pc:picChg>
        <pc:picChg chg="add mod">
          <ac:chgData name="Jason Geiger" userId="a26a7c1b-7c82-461b-a740-6ed7147e1dda" providerId="ADAL" clId="{5B7DC5A8-074A-9848-9794-7549EF882FA3}" dt="2019-02-28T17:52:21.440" v="490" actId="1037"/>
          <ac:picMkLst>
            <pc:docMk/>
            <pc:sldMk cId="1241190960" sldId="8313"/>
            <ac:picMk id="9" creationId="{F721D290-2DFD-F34A-B0B9-CC1DE2AC83ED}"/>
          </ac:picMkLst>
        </pc:picChg>
        <pc:picChg chg="add mod topLvl">
          <ac:chgData name="Jason Geiger" userId="a26a7c1b-7c82-461b-a740-6ed7147e1dda" providerId="ADAL" clId="{5B7DC5A8-074A-9848-9794-7549EF882FA3}" dt="2019-02-28T17:49:49.826" v="403" actId="164"/>
          <ac:picMkLst>
            <pc:docMk/>
            <pc:sldMk cId="1241190960" sldId="8313"/>
            <ac:picMk id="10" creationId="{010AAA31-2E76-6B4D-A5FC-6AB8F06F322F}"/>
          </ac:picMkLst>
        </pc:picChg>
        <pc:picChg chg="del">
          <ac:chgData name="Jason Geiger" userId="a26a7c1b-7c82-461b-a740-6ed7147e1dda" providerId="ADAL" clId="{5B7DC5A8-074A-9848-9794-7549EF882FA3}" dt="2019-02-28T17:45:53.760" v="339" actId="478"/>
          <ac:picMkLst>
            <pc:docMk/>
            <pc:sldMk cId="1241190960" sldId="8313"/>
            <ac:picMk id="14" creationId="{43A40D1F-382A-490D-A013-805ED1DAF5F9}"/>
          </ac:picMkLst>
        </pc:picChg>
      </pc:sldChg>
      <pc:sldChg chg="add del ord">
        <pc:chgData name="Jason Geiger" userId="a26a7c1b-7c82-461b-a740-6ed7147e1dda" providerId="ADAL" clId="{5B7DC5A8-074A-9848-9794-7549EF882FA3}" dt="2019-02-28T19:37:04.444" v="1149" actId="2696"/>
        <pc:sldMkLst>
          <pc:docMk/>
          <pc:sldMk cId="2560227579" sldId="8314"/>
        </pc:sldMkLst>
      </pc:sldChg>
      <pc:sldChg chg="modSp add">
        <pc:chgData name="Jason Geiger" userId="a26a7c1b-7c82-461b-a740-6ed7147e1dda" providerId="ADAL" clId="{5B7DC5A8-074A-9848-9794-7549EF882FA3}" dt="2019-03-01T23:39:32.307" v="4804" actId="20577"/>
        <pc:sldMkLst>
          <pc:docMk/>
          <pc:sldMk cId="4034910045" sldId="8314"/>
        </pc:sldMkLst>
        <pc:spChg chg="mod">
          <ac:chgData name="Jason Geiger" userId="a26a7c1b-7c82-461b-a740-6ed7147e1dda" providerId="ADAL" clId="{5B7DC5A8-074A-9848-9794-7549EF882FA3}" dt="2019-03-01T23:39:32.307" v="4804" actId="20577"/>
          <ac:spMkLst>
            <pc:docMk/>
            <pc:sldMk cId="4034910045" sldId="8314"/>
            <ac:spMk id="3" creationId="{F2A8B4D8-1B67-844D-AE56-ABA66B58756C}"/>
          </ac:spMkLst>
        </pc:spChg>
      </pc:sldChg>
      <pc:sldChg chg="modSp add ord">
        <pc:chgData name="Jason Geiger" userId="a26a7c1b-7c82-461b-a740-6ed7147e1dda" providerId="ADAL" clId="{5B7DC5A8-074A-9848-9794-7549EF882FA3}" dt="2019-03-01T23:15:46.166" v="4150"/>
        <pc:sldMkLst>
          <pc:docMk/>
          <pc:sldMk cId="3820443517" sldId="8315"/>
        </pc:sldMkLst>
        <pc:spChg chg="mod">
          <ac:chgData name="Jason Geiger" userId="a26a7c1b-7c82-461b-a740-6ed7147e1dda" providerId="ADAL" clId="{5B7DC5A8-074A-9848-9794-7549EF882FA3}" dt="2019-02-28T22:08:07.906" v="1336" actId="20577"/>
          <ac:spMkLst>
            <pc:docMk/>
            <pc:sldMk cId="3820443517" sldId="8315"/>
            <ac:spMk id="2" creationId="{552046E3-F35A-D14F-A0A4-DCC8E07EFBAA}"/>
          </ac:spMkLst>
        </pc:spChg>
        <pc:spChg chg="mod">
          <ac:chgData name="Jason Geiger" userId="a26a7c1b-7c82-461b-a740-6ed7147e1dda" providerId="ADAL" clId="{5B7DC5A8-074A-9848-9794-7549EF882FA3}" dt="2019-03-01T23:15:34.318" v="4149" actId="27636"/>
          <ac:spMkLst>
            <pc:docMk/>
            <pc:sldMk cId="3820443517" sldId="8315"/>
            <ac:spMk id="3" creationId="{F2A8B4D8-1B67-844D-AE56-ABA66B58756C}"/>
          </ac:spMkLst>
        </pc:spChg>
      </pc:sldChg>
      <pc:sldChg chg="addSp delSp modSp add ord modNotesTx">
        <pc:chgData name="Jason Geiger" userId="a26a7c1b-7c82-461b-a740-6ed7147e1dda" providerId="ADAL" clId="{5B7DC5A8-074A-9848-9794-7549EF882FA3}" dt="2019-03-02T01:42:55.505" v="5582" actId="20577"/>
        <pc:sldMkLst>
          <pc:docMk/>
          <pc:sldMk cId="797271581" sldId="8316"/>
        </pc:sldMkLst>
        <pc:spChg chg="add mod">
          <ac:chgData name="Jason Geiger" userId="a26a7c1b-7c82-461b-a740-6ed7147e1dda" providerId="ADAL" clId="{5B7DC5A8-074A-9848-9794-7549EF882FA3}" dt="2019-03-02T00:48:51.239" v="5340" actId="1076"/>
          <ac:spMkLst>
            <pc:docMk/>
            <pc:sldMk cId="797271581" sldId="8316"/>
            <ac:spMk id="2" creationId="{7444E329-973F-F548-B3EC-F520E031201A}"/>
          </ac:spMkLst>
        </pc:spChg>
        <pc:spChg chg="del">
          <ac:chgData name="Jason Geiger" userId="a26a7c1b-7c82-461b-a740-6ed7147e1dda" providerId="ADAL" clId="{5B7DC5A8-074A-9848-9794-7549EF882FA3}" dt="2019-02-28T22:08:51.325" v="1394"/>
          <ac:spMkLst>
            <pc:docMk/>
            <pc:sldMk cId="797271581" sldId="8316"/>
            <ac:spMk id="2" creationId="{8CD4F838-8824-974D-BC66-7BD41BC21BC8}"/>
          </ac:spMkLst>
        </pc:spChg>
        <pc:spChg chg="del">
          <ac:chgData name="Jason Geiger" userId="a26a7c1b-7c82-461b-a740-6ed7147e1dda" providerId="ADAL" clId="{5B7DC5A8-074A-9848-9794-7549EF882FA3}" dt="2019-02-28T22:08:51.325" v="1394"/>
          <ac:spMkLst>
            <pc:docMk/>
            <pc:sldMk cId="797271581" sldId="8316"/>
            <ac:spMk id="3" creationId="{A827761E-2082-D840-90CA-C8BA7526949A}"/>
          </ac:spMkLst>
        </pc:spChg>
        <pc:spChg chg="add del mod">
          <ac:chgData name="Jason Geiger" userId="a26a7c1b-7c82-461b-a740-6ed7147e1dda" providerId="ADAL" clId="{5B7DC5A8-074A-9848-9794-7549EF882FA3}" dt="2019-03-01T23:42:17.510" v="4810" actId="478"/>
          <ac:spMkLst>
            <pc:docMk/>
            <pc:sldMk cId="797271581" sldId="8316"/>
            <ac:spMk id="3" creationId="{FEE40A2A-CC6A-1244-8D92-3522431DC8A3}"/>
          </ac:spMkLst>
        </pc:spChg>
        <pc:spChg chg="add del mod">
          <ac:chgData name="Jason Geiger" userId="a26a7c1b-7c82-461b-a740-6ed7147e1dda" providerId="ADAL" clId="{5B7DC5A8-074A-9848-9794-7549EF882FA3}" dt="2019-03-01T23:42:16.453" v="4809" actId="478"/>
          <ac:spMkLst>
            <pc:docMk/>
            <pc:sldMk cId="797271581" sldId="8316"/>
            <ac:spMk id="4" creationId="{46265276-437B-6548-A23D-B3758F35357C}"/>
          </ac:spMkLst>
        </pc:spChg>
        <pc:spChg chg="add del mod">
          <ac:chgData name="Jason Geiger" userId="a26a7c1b-7c82-461b-a740-6ed7147e1dda" providerId="ADAL" clId="{5B7DC5A8-074A-9848-9794-7549EF882FA3}" dt="2019-03-01T23:42:12.478" v="4807" actId="478"/>
          <ac:spMkLst>
            <pc:docMk/>
            <pc:sldMk cId="797271581" sldId="8316"/>
            <ac:spMk id="5" creationId="{DD254198-37C8-B14B-97E8-01F0A05D933D}"/>
          </ac:spMkLst>
        </pc:spChg>
        <pc:spChg chg="add mod">
          <ac:chgData name="Jason Geiger" userId="a26a7c1b-7c82-461b-a740-6ed7147e1dda" providerId="ADAL" clId="{5B7DC5A8-074A-9848-9794-7549EF882FA3}" dt="2019-03-02T01:42:55.505" v="5582" actId="20577"/>
          <ac:spMkLst>
            <pc:docMk/>
            <pc:sldMk cId="797271581" sldId="8316"/>
            <ac:spMk id="7" creationId="{A43296CD-B05A-1C49-8EB7-8042F101D2AA}"/>
          </ac:spMkLst>
        </pc:spChg>
        <pc:spChg chg="add mod">
          <ac:chgData name="Jason Geiger" userId="a26a7c1b-7c82-461b-a740-6ed7147e1dda" providerId="ADAL" clId="{5B7DC5A8-074A-9848-9794-7549EF882FA3}" dt="2019-03-01T23:59:23.164" v="5051" actId="20577"/>
          <ac:spMkLst>
            <pc:docMk/>
            <pc:sldMk cId="797271581" sldId="8316"/>
            <ac:spMk id="8" creationId="{DCEF5540-4779-1C43-99DC-E5E0B80DADCC}"/>
          </ac:spMkLst>
        </pc:spChg>
        <pc:graphicFrameChg chg="add mod modGraphic">
          <ac:chgData name="Jason Geiger" userId="a26a7c1b-7c82-461b-a740-6ed7147e1dda" providerId="ADAL" clId="{5B7DC5A8-074A-9848-9794-7549EF882FA3}" dt="2019-03-02T00:48:30.100" v="5324" actId="1076"/>
          <ac:graphicFrameMkLst>
            <pc:docMk/>
            <pc:sldMk cId="797271581" sldId="8316"/>
            <ac:graphicFrameMk id="6" creationId="{1561A8E0-9B28-0045-9BA4-5CA84C6B13B9}"/>
          </ac:graphicFrameMkLst>
        </pc:graphicFrameChg>
      </pc:sldChg>
      <pc:sldChg chg="addSp delSp modSp add ord">
        <pc:chgData name="Jason Geiger" userId="a26a7c1b-7c82-461b-a740-6ed7147e1dda" providerId="ADAL" clId="{5B7DC5A8-074A-9848-9794-7549EF882FA3}" dt="2019-03-01T23:41:27.116" v="4806"/>
        <pc:sldMkLst>
          <pc:docMk/>
          <pc:sldMk cId="3995806594" sldId="8317"/>
        </pc:sldMkLst>
        <pc:spChg chg="mod">
          <ac:chgData name="Jason Geiger" userId="a26a7c1b-7c82-461b-a740-6ed7147e1dda" providerId="ADAL" clId="{5B7DC5A8-074A-9848-9794-7549EF882FA3}" dt="2019-02-28T22:10:44.446" v="1466" actId="20577"/>
          <ac:spMkLst>
            <pc:docMk/>
            <pc:sldMk cId="3995806594" sldId="8317"/>
            <ac:spMk id="2" creationId="{043E1B0F-756E-4E4C-9FD6-E90A84772F80}"/>
          </ac:spMkLst>
        </pc:spChg>
        <pc:spChg chg="mod">
          <ac:chgData name="Jason Geiger" userId="a26a7c1b-7c82-461b-a740-6ed7147e1dda" providerId="ADAL" clId="{5B7DC5A8-074A-9848-9794-7549EF882FA3}" dt="2019-03-01T23:28:53.256" v="4482" actId="313"/>
          <ac:spMkLst>
            <pc:docMk/>
            <pc:sldMk cId="3995806594" sldId="8317"/>
            <ac:spMk id="5" creationId="{51F31075-B4EB-CE47-91D0-CEDFA6AE92BA}"/>
          </ac:spMkLst>
        </pc:spChg>
        <pc:picChg chg="add del mod">
          <ac:chgData name="Jason Geiger" userId="a26a7c1b-7c82-461b-a740-6ed7147e1dda" providerId="ADAL" clId="{5B7DC5A8-074A-9848-9794-7549EF882FA3}" dt="2019-03-01T20:17:48.831" v="3222" actId="478"/>
          <ac:picMkLst>
            <pc:docMk/>
            <pc:sldMk cId="3995806594" sldId="8317"/>
            <ac:picMk id="3" creationId="{19F03136-8086-6C4B-B4AB-6CA73297CAEF}"/>
          </ac:picMkLst>
        </pc:picChg>
        <pc:picChg chg="del">
          <ac:chgData name="Jason Geiger" userId="a26a7c1b-7c82-461b-a740-6ed7147e1dda" providerId="ADAL" clId="{5B7DC5A8-074A-9848-9794-7549EF882FA3}" dt="2019-02-28T22:10:38.026" v="1456" actId="478"/>
          <ac:picMkLst>
            <pc:docMk/>
            <pc:sldMk cId="3995806594" sldId="8317"/>
            <ac:picMk id="3" creationId="{94ED8820-F371-064B-9661-8E613FB339D5}"/>
          </ac:picMkLst>
        </pc:picChg>
        <pc:picChg chg="del">
          <ac:chgData name="Jason Geiger" userId="a26a7c1b-7c82-461b-a740-6ed7147e1dda" providerId="ADAL" clId="{5B7DC5A8-074A-9848-9794-7549EF882FA3}" dt="2019-02-28T22:10:38.026" v="1456" actId="478"/>
          <ac:picMkLst>
            <pc:docMk/>
            <pc:sldMk cId="3995806594" sldId="8317"/>
            <ac:picMk id="4" creationId="{AC19EAB5-6DCA-614F-9458-035A5EAED9E2}"/>
          </ac:picMkLst>
        </pc:picChg>
        <pc:picChg chg="add del mod">
          <ac:chgData name="Jason Geiger" userId="a26a7c1b-7c82-461b-a740-6ed7147e1dda" providerId="ADAL" clId="{5B7DC5A8-074A-9848-9794-7549EF882FA3}" dt="2019-03-01T20:19:26.410" v="3226" actId="478"/>
          <ac:picMkLst>
            <pc:docMk/>
            <pc:sldMk cId="3995806594" sldId="8317"/>
            <ac:picMk id="4" creationId="{F6FD9068-77D3-8D48-A6D9-BD7F62F6B172}"/>
          </ac:picMkLst>
        </pc:picChg>
        <pc:picChg chg="add mod">
          <ac:chgData name="Jason Geiger" userId="a26a7c1b-7c82-461b-a740-6ed7147e1dda" providerId="ADAL" clId="{5B7DC5A8-074A-9848-9794-7549EF882FA3}" dt="2019-03-01T20:22:41.487" v="3229" actId="1076"/>
          <ac:picMkLst>
            <pc:docMk/>
            <pc:sldMk cId="3995806594" sldId="8317"/>
            <ac:picMk id="6" creationId="{8028D975-F6BC-4C45-91DD-5323D74147B5}"/>
          </ac:picMkLst>
        </pc:picChg>
      </pc:sldChg>
      <pc:sldChg chg="addSp delSp modSp add">
        <pc:chgData name="Jason Geiger" userId="a26a7c1b-7c82-461b-a740-6ed7147e1dda" providerId="ADAL" clId="{5B7DC5A8-074A-9848-9794-7549EF882FA3}" dt="2019-03-02T01:51:46.420" v="5648" actId="20577"/>
        <pc:sldMkLst>
          <pc:docMk/>
          <pc:sldMk cId="3901915077" sldId="8318"/>
        </pc:sldMkLst>
        <pc:spChg chg="mod">
          <ac:chgData name="Jason Geiger" userId="a26a7c1b-7c82-461b-a740-6ed7147e1dda" providerId="ADAL" clId="{5B7DC5A8-074A-9848-9794-7549EF882FA3}" dt="2019-02-28T22:12:24.272" v="1480" actId="20577"/>
          <ac:spMkLst>
            <pc:docMk/>
            <pc:sldMk cId="3901915077" sldId="8318"/>
            <ac:spMk id="2" creationId="{84815F2D-9528-4504-B590-CE0D517B8494}"/>
          </ac:spMkLst>
        </pc:spChg>
        <pc:spChg chg="mod">
          <ac:chgData name="Jason Geiger" userId="a26a7c1b-7c82-461b-a740-6ed7147e1dda" providerId="ADAL" clId="{5B7DC5A8-074A-9848-9794-7549EF882FA3}" dt="2019-02-28T22:25:49.451" v="1921" actId="20577"/>
          <ac:spMkLst>
            <pc:docMk/>
            <pc:sldMk cId="3901915077" sldId="8318"/>
            <ac:spMk id="3" creationId="{B6E4B0E1-258F-CC49-A026-D34DA250A20F}"/>
          </ac:spMkLst>
        </pc:spChg>
        <pc:spChg chg="mod">
          <ac:chgData name="Jason Geiger" userId="a26a7c1b-7c82-461b-a740-6ed7147e1dda" providerId="ADAL" clId="{5B7DC5A8-074A-9848-9794-7549EF882FA3}" dt="2019-03-02T01:51:01.282" v="5621" actId="1035"/>
          <ac:spMkLst>
            <pc:docMk/>
            <pc:sldMk cId="3901915077" sldId="8318"/>
            <ac:spMk id="12" creationId="{811862EC-5694-1240-9601-E885A14AE061}"/>
          </ac:spMkLst>
        </pc:spChg>
        <pc:spChg chg="del">
          <ac:chgData name="Jason Geiger" userId="a26a7c1b-7c82-461b-a740-6ed7147e1dda" providerId="ADAL" clId="{5B7DC5A8-074A-9848-9794-7549EF882FA3}" dt="2019-02-28T22:26:00.878" v="1922" actId="478"/>
          <ac:spMkLst>
            <pc:docMk/>
            <pc:sldMk cId="3901915077" sldId="8318"/>
            <ac:spMk id="19" creationId="{23DE3F7D-EA6A-D841-BBD7-354859D3121B}"/>
          </ac:spMkLst>
        </pc:spChg>
        <pc:spChg chg="add mod">
          <ac:chgData name="Jason Geiger" userId="a26a7c1b-7c82-461b-a740-6ed7147e1dda" providerId="ADAL" clId="{5B7DC5A8-074A-9848-9794-7549EF882FA3}" dt="2019-03-02T00:00:08.199" v="5053" actId="1076"/>
          <ac:spMkLst>
            <pc:docMk/>
            <pc:sldMk cId="3901915077" sldId="8318"/>
            <ac:spMk id="21" creationId="{68CCBDCA-A2B6-A34B-A44D-4F2FD3DA9529}"/>
          </ac:spMkLst>
        </pc:spChg>
        <pc:spChg chg="mod">
          <ac:chgData name="Jason Geiger" userId="a26a7c1b-7c82-461b-a740-6ed7147e1dda" providerId="ADAL" clId="{5B7DC5A8-074A-9848-9794-7549EF882FA3}" dt="2019-03-02T01:51:46.420" v="5648" actId="20577"/>
          <ac:spMkLst>
            <pc:docMk/>
            <pc:sldMk cId="3901915077" sldId="8318"/>
            <ac:spMk id="23" creationId="{284CBD4E-E78B-2248-8EF8-0C0CF7B505BD}"/>
          </ac:spMkLst>
        </pc:spChg>
        <pc:spChg chg="mod">
          <ac:chgData name="Jason Geiger" userId="a26a7c1b-7c82-461b-a740-6ed7147e1dda" providerId="ADAL" clId="{5B7DC5A8-074A-9848-9794-7549EF882FA3}" dt="2019-02-28T22:20:40.152" v="1580" actId="20577"/>
          <ac:spMkLst>
            <pc:docMk/>
            <pc:sldMk cId="3901915077" sldId="8318"/>
            <ac:spMk id="27" creationId="{A6E4043C-84B2-BA4B-9351-EAD3C2259B82}"/>
          </ac:spMkLst>
        </pc:spChg>
        <pc:spChg chg="mod">
          <ac:chgData name="Jason Geiger" userId="a26a7c1b-7c82-461b-a740-6ed7147e1dda" providerId="ADAL" clId="{5B7DC5A8-074A-9848-9794-7549EF882FA3}" dt="2019-03-02T01:51:21.966" v="5636" actId="20577"/>
          <ac:spMkLst>
            <pc:docMk/>
            <pc:sldMk cId="3901915077" sldId="8318"/>
            <ac:spMk id="52" creationId="{5AB5C74A-F37E-5A48-B21F-8BC4CCFE1CF0}"/>
          </ac:spMkLst>
        </pc:spChg>
        <pc:picChg chg="mod">
          <ac:chgData name="Jason Geiger" userId="a26a7c1b-7c82-461b-a740-6ed7147e1dda" providerId="ADAL" clId="{5B7DC5A8-074A-9848-9794-7549EF882FA3}" dt="2019-03-01T20:53:22.390" v="3998" actId="208"/>
          <ac:picMkLst>
            <pc:docMk/>
            <pc:sldMk cId="3901915077" sldId="8318"/>
            <ac:picMk id="4" creationId="{1FABE4B4-7EC7-4741-BE26-DEA0D7826251}"/>
          </ac:picMkLst>
        </pc:picChg>
        <pc:picChg chg="add del">
          <ac:chgData name="Jason Geiger" userId="a26a7c1b-7c82-461b-a740-6ed7147e1dda" providerId="ADAL" clId="{5B7DC5A8-074A-9848-9794-7549EF882FA3}" dt="2019-02-28T22:21:03.691" v="1586"/>
          <ac:picMkLst>
            <pc:docMk/>
            <pc:sldMk cId="3901915077" sldId="8318"/>
            <ac:picMk id="6" creationId="{BF898714-45CA-AE4B-B2B5-788D660CA080}"/>
          </ac:picMkLst>
        </pc:picChg>
        <pc:cxnChg chg="del">
          <ac:chgData name="Jason Geiger" userId="a26a7c1b-7c82-461b-a740-6ed7147e1dda" providerId="ADAL" clId="{5B7DC5A8-074A-9848-9794-7549EF882FA3}" dt="2019-02-28T22:26:03.331" v="1923" actId="478"/>
          <ac:cxnSpMkLst>
            <pc:docMk/>
            <pc:sldMk cId="3901915077" sldId="8318"/>
            <ac:cxnSpMk id="15" creationId="{EF34E2B3-0B6D-CA4E-B512-5D78D14CA124}"/>
          </ac:cxnSpMkLst>
        </pc:cxnChg>
        <pc:cxnChg chg="del">
          <ac:chgData name="Jason Geiger" userId="a26a7c1b-7c82-461b-a740-6ed7147e1dda" providerId="ADAL" clId="{5B7DC5A8-074A-9848-9794-7549EF882FA3}" dt="2019-02-28T22:26:00.878" v="1922" actId="478"/>
          <ac:cxnSpMkLst>
            <pc:docMk/>
            <pc:sldMk cId="3901915077" sldId="8318"/>
            <ac:cxnSpMk id="16" creationId="{34FB6D7E-C12A-2E44-9249-96D355E0A61F}"/>
          </ac:cxnSpMkLst>
        </pc:cxnChg>
        <pc:cxnChg chg="mod">
          <ac:chgData name="Jason Geiger" userId="a26a7c1b-7c82-461b-a740-6ed7147e1dda" providerId="ADAL" clId="{5B7DC5A8-074A-9848-9794-7549EF882FA3}" dt="2019-03-02T01:51:01.282" v="5621" actId="1035"/>
          <ac:cxnSpMkLst>
            <pc:docMk/>
            <pc:sldMk cId="3901915077" sldId="8318"/>
            <ac:cxnSpMk id="20" creationId="{CBD83F02-DDCD-D743-A7A1-22F14113E2F6}"/>
          </ac:cxnSpMkLst>
        </pc:cxnChg>
        <pc:cxnChg chg="add del mod">
          <ac:chgData name="Jason Geiger" userId="a26a7c1b-7c82-461b-a740-6ed7147e1dda" providerId="ADAL" clId="{5B7DC5A8-074A-9848-9794-7549EF882FA3}" dt="2019-02-28T22:31:14.237" v="1928" actId="478"/>
          <ac:cxnSpMkLst>
            <pc:docMk/>
            <pc:sldMk cId="3901915077" sldId="8318"/>
            <ac:cxnSpMk id="22" creationId="{7E495E96-037C-DB4C-BBB7-18186C0B8B8C}"/>
          </ac:cxnSpMkLst>
        </pc:cxnChg>
        <pc:cxnChg chg="add mod">
          <ac:chgData name="Jason Geiger" userId="a26a7c1b-7c82-461b-a740-6ed7147e1dda" providerId="ADAL" clId="{5B7DC5A8-074A-9848-9794-7549EF882FA3}" dt="2019-03-02T00:00:05.533" v="5052" actId="1076"/>
          <ac:cxnSpMkLst>
            <pc:docMk/>
            <pc:sldMk cId="3901915077" sldId="8318"/>
            <ac:cxnSpMk id="24" creationId="{5173C554-B208-684B-A4B0-4E520480F568}"/>
          </ac:cxnSpMkLst>
        </pc:cxnChg>
        <pc:cxnChg chg="add mod">
          <ac:chgData name="Jason Geiger" userId="a26a7c1b-7c82-461b-a740-6ed7147e1dda" providerId="ADAL" clId="{5B7DC5A8-074A-9848-9794-7549EF882FA3}" dt="2019-03-02T00:00:08.199" v="5053" actId="1076"/>
          <ac:cxnSpMkLst>
            <pc:docMk/>
            <pc:sldMk cId="3901915077" sldId="8318"/>
            <ac:cxnSpMk id="25" creationId="{96DF4988-347D-A44F-8323-3E15815EE4E8}"/>
          </ac:cxnSpMkLst>
        </pc:cxnChg>
        <pc:cxnChg chg="mod">
          <ac:chgData name="Jason Geiger" userId="a26a7c1b-7c82-461b-a740-6ed7147e1dda" providerId="ADAL" clId="{5B7DC5A8-074A-9848-9794-7549EF882FA3}" dt="2019-02-28T22:13:03.221" v="1483" actId="1076"/>
          <ac:cxnSpMkLst>
            <pc:docMk/>
            <pc:sldMk cId="3901915077" sldId="8318"/>
            <ac:cxnSpMk id="26" creationId="{7A0EB061-A389-934A-A982-87B7061B7C45}"/>
          </ac:cxnSpMkLst>
        </pc:cxnChg>
        <pc:cxnChg chg="mod">
          <ac:chgData name="Jason Geiger" userId="a26a7c1b-7c82-461b-a740-6ed7147e1dda" providerId="ADAL" clId="{5B7DC5A8-074A-9848-9794-7549EF882FA3}" dt="2019-02-28T22:20:22.636" v="1541" actId="1076"/>
          <ac:cxnSpMkLst>
            <pc:docMk/>
            <pc:sldMk cId="3901915077" sldId="8318"/>
            <ac:cxnSpMk id="28" creationId="{96FD2EF4-5B89-484F-8FB1-EE1CB36CCEC5}"/>
          </ac:cxnSpMkLst>
        </pc:cxnChg>
        <pc:cxnChg chg="del mod">
          <ac:chgData name="Jason Geiger" userId="a26a7c1b-7c82-461b-a740-6ed7147e1dda" providerId="ADAL" clId="{5B7DC5A8-074A-9848-9794-7549EF882FA3}" dt="2019-02-28T22:31:13.371" v="1927" actId="478"/>
          <ac:cxnSpMkLst>
            <pc:docMk/>
            <pc:sldMk cId="3901915077" sldId="8318"/>
            <ac:cxnSpMk id="29" creationId="{C18B891E-BA3F-5845-878C-CEFCF27D54CC}"/>
          </ac:cxnSpMkLst>
        </pc:cxnChg>
        <pc:cxnChg chg="mod">
          <ac:chgData name="Jason Geiger" userId="a26a7c1b-7c82-461b-a740-6ed7147e1dda" providerId="ADAL" clId="{5B7DC5A8-074A-9848-9794-7549EF882FA3}" dt="2019-03-02T01:51:18.274" v="5634" actId="1035"/>
          <ac:cxnSpMkLst>
            <pc:docMk/>
            <pc:sldMk cId="3901915077" sldId="8318"/>
            <ac:cxnSpMk id="53" creationId="{AB6383FD-9D95-4C44-89F7-48D64BCDA42F}"/>
          </ac:cxnSpMkLst>
        </pc:cxnChg>
      </pc:sldChg>
      <pc:sldChg chg="addSp delSp modSp add ord modTransition modNotesTx">
        <pc:chgData name="Jason Geiger" userId="a26a7c1b-7c82-461b-a740-6ed7147e1dda" providerId="ADAL" clId="{5B7DC5A8-074A-9848-9794-7549EF882FA3}" dt="2019-03-01T23:58:53.331" v="5015" actId="20577"/>
        <pc:sldMkLst>
          <pc:docMk/>
          <pc:sldMk cId="2949528379" sldId="8319"/>
        </pc:sldMkLst>
        <pc:spChg chg="del">
          <ac:chgData name="Jason Geiger" userId="a26a7c1b-7c82-461b-a740-6ed7147e1dda" providerId="ADAL" clId="{5B7DC5A8-074A-9848-9794-7549EF882FA3}" dt="2019-03-01T17:21:23.601" v="2184" actId="478"/>
          <ac:spMkLst>
            <pc:docMk/>
            <pc:sldMk cId="2949528379" sldId="8319"/>
            <ac:spMk id="2" creationId="{A6741288-DEF4-8B45-B7C2-9BD35965957C}"/>
          </ac:spMkLst>
        </pc:spChg>
        <pc:spChg chg="add del mod">
          <ac:chgData name="Jason Geiger" userId="a26a7c1b-7c82-461b-a740-6ed7147e1dda" providerId="ADAL" clId="{5B7DC5A8-074A-9848-9794-7549EF882FA3}" dt="2019-03-01T23:55:20.637" v="4986" actId="478"/>
          <ac:spMkLst>
            <pc:docMk/>
            <pc:sldMk cId="2949528379" sldId="8319"/>
            <ac:spMk id="2" creationId="{E5E90CF5-65F0-1444-A2D0-65E6E0334BB2}"/>
          </ac:spMkLst>
        </pc:spChg>
        <pc:spChg chg="del">
          <ac:chgData name="Jason Geiger" userId="a26a7c1b-7c82-461b-a740-6ed7147e1dda" providerId="ADAL" clId="{5B7DC5A8-074A-9848-9794-7549EF882FA3}" dt="2019-03-01T17:33:15.855" v="2604" actId="478"/>
          <ac:spMkLst>
            <pc:docMk/>
            <pc:sldMk cId="2949528379" sldId="8319"/>
            <ac:spMk id="3" creationId="{5CAE1CF8-8555-6641-A3E4-230F3754452D}"/>
          </ac:spMkLst>
        </pc:spChg>
        <pc:spChg chg="del">
          <ac:chgData name="Jason Geiger" userId="a26a7c1b-7c82-461b-a740-6ed7147e1dda" providerId="ADAL" clId="{5B7DC5A8-074A-9848-9794-7549EF882FA3}" dt="2019-03-01T17:21:22.215" v="2183" actId="478"/>
          <ac:spMkLst>
            <pc:docMk/>
            <pc:sldMk cId="2949528379" sldId="8319"/>
            <ac:spMk id="4" creationId="{0871756E-D85D-954F-8357-19EEC4DD407E}"/>
          </ac:spMkLst>
        </pc:spChg>
        <pc:spChg chg="add del">
          <ac:chgData name="Jason Geiger" userId="a26a7c1b-7c82-461b-a740-6ed7147e1dda" providerId="ADAL" clId="{5B7DC5A8-074A-9848-9794-7549EF882FA3}" dt="2019-03-01T17:33:14.589" v="2603"/>
          <ac:spMkLst>
            <pc:docMk/>
            <pc:sldMk cId="2949528379" sldId="8319"/>
            <ac:spMk id="7" creationId="{3B857193-F3AE-5F4A-9311-AD9145A307DA}"/>
          </ac:spMkLst>
        </pc:spChg>
        <pc:spChg chg="add mod">
          <ac:chgData name="Jason Geiger" userId="a26a7c1b-7c82-461b-a740-6ed7147e1dda" providerId="ADAL" clId="{5B7DC5A8-074A-9848-9794-7549EF882FA3}" dt="2019-03-01T23:58:53.331" v="5015" actId="20577"/>
          <ac:spMkLst>
            <pc:docMk/>
            <pc:sldMk cId="2949528379" sldId="8319"/>
            <ac:spMk id="8" creationId="{2A103045-CE71-F742-B1B1-179F25B5492E}"/>
          </ac:spMkLst>
        </pc:spChg>
        <pc:spChg chg="add del mod">
          <ac:chgData name="Jason Geiger" userId="a26a7c1b-7c82-461b-a740-6ed7147e1dda" providerId="ADAL" clId="{5B7DC5A8-074A-9848-9794-7549EF882FA3}" dt="2019-03-01T17:33:28.972" v="2606" actId="478"/>
          <ac:spMkLst>
            <pc:docMk/>
            <pc:sldMk cId="2949528379" sldId="8319"/>
            <ac:spMk id="9" creationId="{73C0A358-DABE-2040-904F-B5B0027CDE6E}"/>
          </ac:spMkLst>
        </pc:spChg>
        <pc:graphicFrameChg chg="add mod modGraphic">
          <ac:chgData name="Jason Geiger" userId="a26a7c1b-7c82-461b-a740-6ed7147e1dda" providerId="ADAL" clId="{5B7DC5A8-074A-9848-9794-7549EF882FA3}" dt="2019-03-01T23:55:49.831" v="5002" actId="20577"/>
          <ac:graphicFrameMkLst>
            <pc:docMk/>
            <pc:sldMk cId="2949528379" sldId="8319"/>
            <ac:graphicFrameMk id="5" creationId="{921F02B5-8EFE-A84C-B41E-5905858ADFFA}"/>
          </ac:graphicFrameMkLst>
        </pc:graphicFrameChg>
        <pc:picChg chg="add del">
          <ac:chgData name="Jason Geiger" userId="a26a7c1b-7c82-461b-a740-6ed7147e1dda" providerId="ADAL" clId="{5B7DC5A8-074A-9848-9794-7549EF882FA3}" dt="2019-03-01T17:31:17.993" v="2576"/>
          <ac:picMkLst>
            <pc:docMk/>
            <pc:sldMk cId="2949528379" sldId="8319"/>
            <ac:picMk id="6" creationId="{41511E27-3C5F-434E-A9D6-DF5983917676}"/>
          </ac:picMkLst>
        </pc:picChg>
      </pc:sldChg>
      <pc:sldChg chg="delSp modSp add ord">
        <pc:chgData name="Jason Geiger" userId="a26a7c1b-7c82-461b-a740-6ed7147e1dda" providerId="ADAL" clId="{5B7DC5A8-074A-9848-9794-7549EF882FA3}" dt="2019-03-01T23:16:24.367" v="4175" actId="478"/>
        <pc:sldMkLst>
          <pc:docMk/>
          <pc:sldMk cId="4281153374" sldId="8320"/>
        </pc:sldMkLst>
        <pc:spChg chg="mod">
          <ac:chgData name="Jason Geiger" userId="a26a7c1b-7c82-461b-a740-6ed7147e1dda" providerId="ADAL" clId="{5B7DC5A8-074A-9848-9794-7549EF882FA3}" dt="2019-03-01T23:16:21.282" v="4174" actId="20577"/>
          <ac:spMkLst>
            <pc:docMk/>
            <pc:sldMk cId="4281153374" sldId="8320"/>
            <ac:spMk id="2" creationId="{552046E3-F35A-D14F-A0A4-DCC8E07EFBAA}"/>
          </ac:spMkLst>
        </pc:spChg>
        <pc:spChg chg="del mod">
          <ac:chgData name="Jason Geiger" userId="a26a7c1b-7c82-461b-a740-6ed7147e1dda" providerId="ADAL" clId="{5B7DC5A8-074A-9848-9794-7549EF882FA3}" dt="2019-03-01T23:16:24.367" v="4175" actId="478"/>
          <ac:spMkLst>
            <pc:docMk/>
            <pc:sldMk cId="4281153374" sldId="8320"/>
            <ac:spMk id="3" creationId="{F2A8B4D8-1B67-844D-AE56-ABA66B58756C}"/>
          </ac:spMkLst>
        </pc:spChg>
      </pc:sldChg>
      <pc:sldChg chg="modSp">
        <pc:chgData name="Jason Geiger" userId="a26a7c1b-7c82-461b-a740-6ed7147e1dda" providerId="ADAL" clId="{5B7DC5A8-074A-9848-9794-7549EF882FA3}" dt="2019-03-02T00:43:01.701" v="5072" actId="255"/>
        <pc:sldMkLst>
          <pc:docMk/>
          <pc:sldMk cId="2370752466" sldId="8321"/>
        </pc:sldMkLst>
        <pc:spChg chg="mod">
          <ac:chgData name="Jason Geiger" userId="a26a7c1b-7c82-461b-a740-6ed7147e1dda" providerId="ADAL" clId="{5B7DC5A8-074A-9848-9794-7549EF882FA3}" dt="2019-03-02T00:43:01.701" v="5072" actId="255"/>
          <ac:spMkLst>
            <pc:docMk/>
            <pc:sldMk cId="2370752466" sldId="8321"/>
            <ac:spMk id="3" creationId="{DB27DAFF-88CF-4AB2-96D6-9832DED6E4AA}"/>
          </ac:spMkLst>
        </pc:spChg>
      </pc:sldChg>
    </pc:docChg>
  </pc:docChgLst>
  <pc:docChgLst>
    <pc:chgData name="Michael Sullivan (LEARNING)" userId="f23782bf-6c78-431a-8f98-060f77535d2e" providerId="ADAL" clId="{A5FC302C-7DC7-4359-B7EC-33086E2DF000}"/>
    <pc:docChg chg="undo custSel addSld delSld modSld modSection">
      <pc:chgData name="Michael Sullivan (LEARNING)" userId="f23782bf-6c78-431a-8f98-060f77535d2e" providerId="ADAL" clId="{A5FC302C-7DC7-4359-B7EC-33086E2DF000}" dt="2019-03-02T00:47:04.777" v="1001" actId="20577"/>
      <pc:docMkLst>
        <pc:docMk/>
      </pc:docMkLst>
      <pc:sldChg chg="del">
        <pc:chgData name="Michael Sullivan (LEARNING)" userId="f23782bf-6c78-431a-8f98-060f77535d2e" providerId="ADAL" clId="{A5FC302C-7DC7-4359-B7EC-33086E2DF000}" dt="2019-03-02T00:30:17.204" v="566" actId="2696"/>
        <pc:sldMkLst>
          <pc:docMk/>
          <pc:sldMk cId="2547088891" sldId="8303"/>
        </pc:sldMkLst>
      </pc:sldChg>
      <pc:sldChg chg="del">
        <pc:chgData name="Michael Sullivan (LEARNING)" userId="f23782bf-6c78-431a-8f98-060f77535d2e" providerId="ADAL" clId="{A5FC302C-7DC7-4359-B7EC-33086E2DF000}" dt="2019-03-02T00:30:18.272" v="567" actId="2696"/>
        <pc:sldMkLst>
          <pc:docMk/>
          <pc:sldMk cId="1114378966" sldId="8304"/>
        </pc:sldMkLst>
      </pc:sldChg>
      <pc:sldChg chg="addSp modSp add">
        <pc:chgData name="Michael Sullivan (LEARNING)" userId="f23782bf-6c78-431a-8f98-060f77535d2e" providerId="ADAL" clId="{A5FC302C-7DC7-4359-B7EC-33086E2DF000}" dt="2019-03-02T00:47:04.777" v="1001" actId="20577"/>
        <pc:sldMkLst>
          <pc:docMk/>
          <pc:sldMk cId="2370752466" sldId="8321"/>
        </pc:sldMkLst>
        <pc:spChg chg="mod">
          <ac:chgData name="Michael Sullivan (LEARNING)" userId="f23782bf-6c78-431a-8f98-060f77535d2e" providerId="ADAL" clId="{A5FC302C-7DC7-4359-B7EC-33086E2DF000}" dt="2019-03-02T00:08:49.384" v="169" actId="20577"/>
          <ac:spMkLst>
            <pc:docMk/>
            <pc:sldMk cId="2370752466" sldId="8321"/>
            <ac:spMk id="2" creationId="{B50DBB8D-45E2-42E0-A26C-9434F8793BCB}"/>
          </ac:spMkLst>
        </pc:spChg>
        <pc:spChg chg="mod">
          <ac:chgData name="Michael Sullivan (LEARNING)" userId="f23782bf-6c78-431a-8f98-060f77535d2e" providerId="ADAL" clId="{A5FC302C-7DC7-4359-B7EC-33086E2DF000}" dt="2019-03-02T00:43:55.594" v="656" actId="20577"/>
          <ac:spMkLst>
            <pc:docMk/>
            <pc:sldMk cId="2370752466" sldId="8321"/>
            <ac:spMk id="3" creationId="{DB27DAFF-88CF-4AB2-96D6-9832DED6E4AA}"/>
          </ac:spMkLst>
        </pc:spChg>
        <pc:graphicFrameChg chg="add mod modGraphic">
          <ac:chgData name="Michael Sullivan (LEARNING)" userId="f23782bf-6c78-431a-8f98-060f77535d2e" providerId="ADAL" clId="{A5FC302C-7DC7-4359-B7EC-33086E2DF000}" dt="2019-03-02T00:47:04.777" v="1001" actId="20577"/>
          <ac:graphicFrameMkLst>
            <pc:docMk/>
            <pc:sldMk cId="2370752466" sldId="8321"/>
            <ac:graphicFrameMk id="4" creationId="{A107FC0D-C2A1-482D-8588-13E088B23262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574C320-1200-184F-BD23-57696A9871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601DD-AE94-0D4A-8252-3E748472598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A82940-4BBA-7C4F-B8D5-3951799BA87B}" type="datetimeFigureOut">
              <a:rPr lang="en-US" smtClean="0"/>
              <a:t>3/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82D59F-6EC7-A64E-93F8-A25FD8BAF2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0AAC0B-A398-EA42-9B2A-E433EEE940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47C8E-B935-934F-8392-790B99EB9F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814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630F7-E639-4C3B-A3AF-60267711B3F7}" type="datetimeFigureOut">
              <a:rPr lang="en-US" smtClean="0"/>
              <a:t>3/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A5FAA-635D-4DF9-8CD7-C7A047F6D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34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4331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80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tailed results</a:t>
            </a:r>
          </a:p>
          <a:p>
            <a:r>
              <a:rPr lang="en-US"/>
              <a:t>https://</a:t>
            </a:r>
            <a:r>
              <a:rPr lang="en-US" err="1"/>
              <a:t>microsoft.sharepoint.com</a:t>
            </a:r>
            <a:r>
              <a:rPr lang="en-US"/>
              <a:t>/:w:/t/</a:t>
            </a:r>
            <a:r>
              <a:rPr lang="en-US" err="1"/>
              <a:t>docsmicrosoftcom</a:t>
            </a:r>
            <a:r>
              <a:rPr lang="en-US"/>
              <a:t>/ERIpfRGjmWpPoBwoySe1Pk8BrKWSsVnV_mxYTS0kcQ7EJQ?rtime=AnA4eZ-e1k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8075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0613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503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225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497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2236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006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176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369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5376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A5FAA-635D-4DF9-8CD7-C7A047F6DB4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431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E5786-983D-BF40-A200-E6EE20704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3617"/>
            <a:ext cx="10515600" cy="748568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502CBB-BC10-AD4E-B872-2BAD1A3C3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2555510"/>
            <a:ext cx="4643438" cy="66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93119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372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3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4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35020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6465490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940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" tIns="45708" rIns="45708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4"/>
            <a:ext cx="11653522" cy="2225866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9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869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0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89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797631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79234" rIns="179234" bIns="179234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8" y="475390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23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757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5262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C64ED-2501-4FE4-8C72-873187C81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A9B703-6A51-4497-A08D-06B8124E31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F3C7ED-59BB-41A5-A2A3-005FA24D0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460E-3060-4ADD-B1FA-080DC3F47103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625E69-F678-4EBB-BA52-F2DAE044C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47C40-0223-40D0-84D6-2EDC08896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A2AF-90C1-4856-9D0F-91C7218675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7680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7A25E-29DC-4085-8981-A13EA4425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C877B-E1F2-46D5-BAEB-EF2A8D9FD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808F1F-9DB9-4435-9103-2066B56B9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5412A-B856-49C2-960A-9A88CE585B85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0F332-0381-4810-9F1E-28B59D8A1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B6576-25E1-4338-9730-1740051E3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A3D1C-9078-4799-A6F8-32EF1C4280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3129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000" cy="1000664"/>
          </a:xfrm>
          <a:solidFill>
            <a:srgbClr val="0070C0"/>
          </a:solidFill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319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51038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 (event n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1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5" y="2980728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9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9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546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399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9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15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2" y="2077804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6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70307" y="470067"/>
            <a:ext cx="1749412" cy="38410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A5BF7F-325C-441F-86E0-45FA700F02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40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9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2" y="2077804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6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470067"/>
            <a:ext cx="1792850" cy="3841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B9C4B3-BBA2-4C09-AD7D-E43322A83D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40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825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3968" indent="0">
              <a:buNone/>
              <a:defRPr/>
            </a:lvl2pPr>
            <a:lvl3pPr marL="447935" indent="0">
              <a:buNone/>
              <a:defRPr/>
            </a:lvl3pPr>
            <a:lvl4pPr marL="671903" indent="0">
              <a:buNone/>
              <a:defRPr/>
            </a:lvl4pPr>
            <a:lvl5pPr marL="89587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0031496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6" y="1187647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2528608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409" indent="0">
              <a:buFont typeface="Wingdings" panose="05000000000000000000" pitchFamily="2" charset="2"/>
              <a:buNone/>
              <a:defRPr sz="2353" b="0"/>
            </a:lvl2pPr>
            <a:lvl3pPr marL="441713" indent="0">
              <a:buFont typeface="Wingdings" panose="05000000000000000000" pitchFamily="2" charset="2"/>
              <a:buNone/>
              <a:tabLst/>
              <a:defRPr sz="2157" b="0"/>
            </a:lvl3pPr>
            <a:lvl4pPr marL="639239" indent="0">
              <a:buFont typeface="Wingdings" panose="05000000000000000000" pitchFamily="2" charset="2"/>
              <a:buNone/>
              <a:defRPr sz="2157" b="0"/>
            </a:lvl4pPr>
            <a:lvl5pPr marL="836767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7"/>
            <a:ext cx="5378548" cy="246221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09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713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239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76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3926" marR="0" lvl="0" indent="-503926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3926" marR="0" lvl="1" indent="-503926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3926" marR="0" lvl="2" indent="-503926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3926" marR="0" lvl="3" indent="-503926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3926" marR="0" lvl="4" indent="-503926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5537321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7644"/>
            <a:ext cx="5378548" cy="2115402"/>
          </a:xfrm>
        </p:spPr>
        <p:txBody>
          <a:bodyPr wrap="square">
            <a:spAutoFit/>
          </a:bodyPr>
          <a:lstStyle>
            <a:lvl1pPr marL="227079" indent="-22707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384" indent="-167975">
              <a:buFont typeface="Wingdings" panose="05000000000000000000" pitchFamily="2" charset="2"/>
              <a:buChar char=""/>
              <a:defRPr sz="2353" b="0"/>
            </a:lvl2pPr>
            <a:lvl3pPr marL="626799" indent="-185085">
              <a:buFont typeface="Wingdings" panose="05000000000000000000" pitchFamily="2" charset="2"/>
              <a:buChar char=""/>
              <a:tabLst/>
              <a:defRPr sz="2157" b="0"/>
            </a:lvl3pPr>
            <a:lvl4pPr marL="811882" indent="-172643">
              <a:buFont typeface="Wingdings" panose="05000000000000000000" pitchFamily="2" charset="2"/>
              <a:buChar char=""/>
              <a:defRPr sz="2157" b="0"/>
            </a:lvl4pPr>
            <a:lvl5pPr marL="1003187" indent="-166421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7"/>
            <a:ext cx="5378548" cy="2462213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360" indent="-335951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663" indent="-335951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191" indent="-335951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2720" indent="-335951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079" marR="0" lvl="0" indent="-227079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079" marR="0" lvl="1" indent="-227079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079" marR="0" lvl="2" indent="-227079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079" marR="0" lvl="3" indent="-227079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079" marR="0" lvl="4" indent="-227079" algn="l" defTabSz="91384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24511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300303-C7C9-4BCD-A68A-BFE2D02A82D4}"/>
              </a:ext>
            </a:extLst>
          </p:cNvPr>
          <p:cNvSpPr/>
          <p:nvPr userDrawn="1"/>
        </p:nvSpPr>
        <p:spPr>
          <a:xfrm>
            <a:off x="1" y="488"/>
            <a:ext cx="12192000" cy="947300"/>
          </a:xfrm>
          <a:prstGeom prst="rect">
            <a:avLst/>
          </a:prstGeom>
          <a:solidFill>
            <a:schemeClr val="accent1"/>
          </a:solidFill>
          <a:ln w="6350">
            <a:noFill/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89630" tIns="44814" rIns="89630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91B1E1-5C1C-4C9A-8BF4-C36029BF7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91B1E1-5C1C-4C9A-8BF4-C36029BF7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83"/>
            <a:ext cx="11655840" cy="70591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101742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12412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29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00598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56729493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86979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2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4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1536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595571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2243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2225866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0969667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79208" rIns="179208" bIns="179208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9" y="475390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396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42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8F2A2D2-DE9B-4819-9052-7451D1D54C8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11261697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2212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33692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Half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240A8B-C005-144F-ACF1-D20ADB588F9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E3DDA26-DBA2-2A45-B43A-9CE3B693EBA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73103" y="1866901"/>
            <a:ext cx="5630178" cy="4514046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2C96D7-2C1D-4220-A670-6643ABD553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03281" y="1866900"/>
            <a:ext cx="5631518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9983142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Half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240A8B-C005-144F-ACF1-D20ADB588F9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3D2F7876-F865-3E4F-9E03-A713436B665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04622" y="1866901"/>
            <a:ext cx="5630178" cy="4229099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EE6FA22-64A5-4755-B418-115329AD02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33269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 + Double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28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5FC2E-6D98-CE43-9551-6AA69FEF734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hape 78">
            <a:extLst>
              <a:ext uri="{FF2B5EF4-FFF2-40B4-BE49-F238E27FC236}">
                <a16:creationId xmlns:a16="http://schemas.microsoft.com/office/drawing/2014/main" id="{DA021890-D16A-D649-AA1E-9ED7EFA69AF4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1180053"/>
            <a:ext cx="5638798" cy="6868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2</a:t>
            </a:r>
          </a:p>
        </p:txBody>
      </p:sp>
      <p:sp>
        <p:nvSpPr>
          <p:cNvPr id="9" name="Shape 78">
            <a:extLst>
              <a:ext uri="{FF2B5EF4-FFF2-40B4-BE49-F238E27FC236}">
                <a16:creationId xmlns:a16="http://schemas.microsoft.com/office/drawing/2014/main" id="{596BDBB1-DFCE-5B44-8169-B1A6DE61560F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1183190"/>
            <a:ext cx="5638800" cy="682523"/>
          </a:xfrm>
          <a:prstGeom prst="rect">
            <a:avLst/>
          </a:prstGeom>
          <a:ln>
            <a:noFill/>
          </a:ln>
        </p:spPr>
        <p:txBody>
          <a:bodyPr vert="horz" wrap="square" lIns="0" tIns="0" rIns="182880" bIns="0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1</a:t>
            </a:r>
          </a:p>
        </p:txBody>
      </p:sp>
    </p:spTree>
    <p:extLst>
      <p:ext uri="{BB962C8B-B14F-4D97-AF65-F5344CB8AC3E}">
        <p14:creationId xmlns:p14="http://schemas.microsoft.com/office/powerpoint/2010/main" val="150070932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E28BD72-8F4D-45F0-895D-618DDEA404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848D9E-E208-474E-B8F8-6B6EF468998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790925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48874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47923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005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Drag picture to placeholder or </a:t>
            </a:r>
            <a:br>
              <a:rPr lang="en-US"/>
            </a:br>
            <a:r>
              <a:rPr lang="en-US"/>
              <a:t>click icon to add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D67C4168-A193-45C5-93FD-7A782A48C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5638800" cy="1409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7C32BF6-02DE-4611-8B42-B01BC47DC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00032"/>
            <a:ext cx="528074" cy="26624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ACBEEA0-E883-47BA-9A58-EFBE285A7CD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14192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Conten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36576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2" y="0"/>
            <a:ext cx="6095998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Drag picture to placeholder or </a:t>
            </a:r>
            <a:br>
              <a:rPr lang="en-US"/>
            </a:br>
            <a:r>
              <a:rPr lang="en-US"/>
              <a:t>click icon to ad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0A937-5674-5E4D-BA15-88B347E17A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D82040B-E8B0-4143-8A3F-EF4AA4D005D0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794824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+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FFC3C55-6A91-B044-8174-021C7F0DF43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84345" y="0"/>
            <a:ext cx="6306688" cy="6858000"/>
          </a:xfrm>
          <a:prstGeom prst="rect">
            <a:avLst/>
          </a:prstGeom>
        </p:spPr>
        <p:txBody>
          <a:bodyPr lIns="274320" tIns="457200" rIns="365760" bIns="457200" anchor="ctr" anchorCtr="0"/>
          <a:lstStyle>
            <a:lvl1pPr>
              <a:defRPr sz="3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Bold statement goes here.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84345" cy="6858000"/>
          </a:xfrm>
        </p:spPr>
        <p:txBody>
          <a:bodyPr lIns="91440" tIns="182880" rIns="91440" bIns="182880" anchor="ctr"/>
          <a:lstStyle>
            <a:lvl1pPr marL="0" indent="0" algn="ctr">
              <a:buNone/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9B1DDD-55E1-C14C-8058-596104BB8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33978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77509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457200"/>
            <a:ext cx="11277599" cy="5638800"/>
          </a:xfrm>
          <a:prstGeom prst="rect">
            <a:avLst/>
          </a:prstGeom>
        </p:spPr>
        <p:txBody>
          <a:bodyPr vert="horz" lIns="0" tIns="0" rIns="0" bIns="91440" rtlCol="0" anchor="ctr" anchorCtr="0">
            <a:normAutofit/>
          </a:bodyPr>
          <a:lstStyle>
            <a:lvl1pPr>
              <a:lnSpc>
                <a:spcPct val="110000"/>
              </a:lnSpc>
              <a:spcAft>
                <a:spcPts val="1200"/>
              </a:spcAft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  <a:lvl2pPr>
              <a:lnSpc>
                <a:spcPct val="110000"/>
              </a:lnSpc>
              <a:defRPr sz="24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2pPr>
            <a:lvl3pPr>
              <a:lnSpc>
                <a:spcPct val="110000"/>
              </a:lnSpc>
              <a:defRPr sz="24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3pPr>
            <a:lvl4pPr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4pPr>
          </a:lstStyle>
          <a:p>
            <a:pPr lvl="0"/>
            <a:r>
              <a:rPr lang="en-US"/>
              <a:t>Click to edit Subhead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62410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out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D8D864-CFA6-477D-A4B4-FED8B094566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103952" y="3276600"/>
            <a:ext cx="5622897" cy="28194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About me…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1627637-B5D0-ED45-8DF8-0E533AAA00D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25099" y="1181100"/>
            <a:ext cx="1409700" cy="140970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400" b="0"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52D16FD-C54E-954A-88CB-7F7F7287BF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1181100"/>
            <a:ext cx="4212129" cy="1028700"/>
          </a:xfrm>
          <a:prstGeom prst="rect">
            <a:avLst/>
          </a:prstGeom>
        </p:spPr>
        <p:txBody>
          <a:bodyPr lIns="0" tIns="274320" rIns="18288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600" b="0" i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Twitter: @handle</a:t>
            </a:r>
          </a:p>
          <a:p>
            <a:pPr lvl="0"/>
            <a:r>
              <a:rPr lang="en-US"/>
              <a:t>Email: </a:t>
            </a:r>
            <a:r>
              <a:rPr lang="en-US" err="1"/>
              <a:t>email@Microsoft.com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1CB2BC-111D-F649-A0EE-51B2CD7DCF8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45711B6-47A7-4CF6-BE34-3532BF3BA12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6133" y="1181100"/>
            <a:ext cx="5622897" cy="49149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6513196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ept 3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524208" y="1505652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391358" y="1513780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9285461" y="1488127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50DF9F24-F2BD-4DEC-BF54-5080F302503F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4347972" y="3276600"/>
            <a:ext cx="3496057" cy="2095500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25" name="Shape 69">
            <a:extLst>
              <a:ext uri="{FF2B5EF4-FFF2-40B4-BE49-F238E27FC236}">
                <a16:creationId xmlns:a16="http://schemas.microsoft.com/office/drawing/2014/main" id="{452ABE62-CCEE-407B-B879-4F04AA8A85B2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8229600" y="3276600"/>
            <a:ext cx="3503300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26" name="Shape 78">
            <a:extLst>
              <a:ext uri="{FF2B5EF4-FFF2-40B4-BE49-F238E27FC236}">
                <a16:creationId xmlns:a16="http://schemas.microsoft.com/office/drawing/2014/main" id="{ED9E8697-A9C3-4FDC-9D6C-2B35F242E978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347972" y="2602431"/>
            <a:ext cx="3496057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2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/>
        </p:nvCxnSpPr>
        <p:spPr>
          <a:xfrm flipV="1">
            <a:off x="45720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0" name="Shape 78">
            <a:extLst>
              <a:ext uri="{FF2B5EF4-FFF2-40B4-BE49-F238E27FC236}">
                <a16:creationId xmlns:a16="http://schemas.microsoft.com/office/drawing/2014/main" id="{F65B4093-2B95-4F31-BE02-FE267F2C7256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2602419"/>
            <a:ext cx="3543300" cy="689328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1</a:t>
            </a:r>
          </a:p>
        </p:txBody>
      </p:sp>
      <p:sp>
        <p:nvSpPr>
          <p:cNvPr id="31" name="Shape 78">
            <a:extLst>
              <a:ext uri="{FF2B5EF4-FFF2-40B4-BE49-F238E27FC236}">
                <a16:creationId xmlns:a16="http://schemas.microsoft.com/office/drawing/2014/main" id="{BC5E1042-00D9-4CC5-A8F0-6D5351A8102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8229600" y="2602431"/>
            <a:ext cx="3505200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3</a:t>
            </a:r>
          </a:p>
        </p:txBody>
      </p:sp>
      <p:sp>
        <p:nvSpPr>
          <p:cNvPr id="32" name="Shape 69">
            <a:extLst>
              <a:ext uri="{FF2B5EF4-FFF2-40B4-BE49-F238E27FC236}">
                <a16:creationId xmlns:a16="http://schemas.microsoft.com/office/drawing/2014/main" id="{D0DB858D-C909-4D63-B4BA-450AB7BC6813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276600"/>
            <a:ext cx="3543301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33" name="Title Placeholder 2">
            <a:extLst>
              <a:ext uri="{FF2B5EF4-FFF2-40B4-BE49-F238E27FC236}">
                <a16:creationId xmlns:a16="http://schemas.microsoft.com/office/drawing/2014/main" id="{2C1FE9BA-3B57-4CA6-8333-A470390E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/>
        </p:nvCxnSpPr>
        <p:spPr>
          <a:xfrm flipV="1">
            <a:off x="432435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/>
        </p:nvCxnSpPr>
        <p:spPr>
          <a:xfrm>
            <a:off x="8229600" y="3282800"/>
            <a:ext cx="351840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B6142-BE00-C841-A15F-937FA7A70E4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04403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ept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866901" y="1433156"/>
            <a:ext cx="2819400" cy="1634103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7505699" y="1433157"/>
            <a:ext cx="2819401" cy="1634102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Shape 69">
            <a:extLst>
              <a:ext uri="{FF2B5EF4-FFF2-40B4-BE49-F238E27FC236}">
                <a16:creationId xmlns:a16="http://schemas.microsoft.com/office/drawing/2014/main" id="{DA909CD3-D031-4644-961E-3BAEF5FC557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6095998" y="3998873"/>
            <a:ext cx="5638801" cy="2097128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23" name="Shape 78">
            <a:extLst>
              <a:ext uri="{FF2B5EF4-FFF2-40B4-BE49-F238E27FC236}">
                <a16:creationId xmlns:a16="http://schemas.microsoft.com/office/drawing/2014/main" id="{86F28D81-7603-4E02-9F5E-B52509955F9D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3276600"/>
            <a:ext cx="5638798" cy="7239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A68F424-EA1D-4D7C-A4B5-5D8BC32C7BFB}"/>
              </a:ext>
            </a:extLst>
          </p:cNvPr>
          <p:cNvCxnSpPr>
            <a:cxnSpLocks/>
          </p:cNvCxnSpPr>
          <p:nvPr/>
        </p:nvCxnSpPr>
        <p:spPr>
          <a:xfrm>
            <a:off x="1181100" y="3909418"/>
            <a:ext cx="42291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6FB7B6-28C9-4460-8677-F7C9633207B5}"/>
              </a:ext>
            </a:extLst>
          </p:cNvPr>
          <p:cNvCxnSpPr>
            <a:cxnSpLocks/>
          </p:cNvCxnSpPr>
          <p:nvPr/>
        </p:nvCxnSpPr>
        <p:spPr>
          <a:xfrm>
            <a:off x="6819900" y="3916700"/>
            <a:ext cx="4191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6" name="Shape 78">
            <a:extLst>
              <a:ext uri="{FF2B5EF4-FFF2-40B4-BE49-F238E27FC236}">
                <a16:creationId xmlns:a16="http://schemas.microsoft.com/office/drawing/2014/main" id="{6F67237B-0079-4730-BA0A-EFD67517C184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3279529"/>
            <a:ext cx="5638800" cy="719343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1</a:t>
            </a:r>
          </a:p>
        </p:txBody>
      </p:sp>
      <p:sp>
        <p:nvSpPr>
          <p:cNvPr id="27" name="Shape 69">
            <a:extLst>
              <a:ext uri="{FF2B5EF4-FFF2-40B4-BE49-F238E27FC236}">
                <a16:creationId xmlns:a16="http://schemas.microsoft.com/office/drawing/2014/main" id="{AEED71C8-01E7-4E81-A0EB-0535EB83D4BE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999831"/>
            <a:ext cx="5638799" cy="2096169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28" name="Title Placeholder 2">
            <a:extLst>
              <a:ext uri="{FF2B5EF4-FFF2-40B4-BE49-F238E27FC236}">
                <a16:creationId xmlns:a16="http://schemas.microsoft.com/office/drawing/2014/main" id="{8978FE4F-86FF-40F7-BEC9-11D7612E6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9B8D54-B0B9-6E4D-B7AE-B502B5822B4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3499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0" y="1181101"/>
            <a:ext cx="9867900" cy="669332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400" b="0" i="0">
                <a:solidFill>
                  <a:schemeClr val="accent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One-line summary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505700" y="4702768"/>
            <a:ext cx="4229100" cy="1698031"/>
          </a:xfrm>
          <a:prstGeom prst="rect">
            <a:avLst/>
          </a:prstGeom>
        </p:spPr>
        <p:txBody>
          <a:bodyPr vert="horz" lIns="137160" tIns="109728" rIns="137160" bIns="109728" rtlCol="0" anchor="t">
            <a:noAutofit/>
          </a:bodyPr>
          <a:lstStyle>
            <a:lvl1pPr>
              <a:defRPr kumimoji="0" lang="en-US" sz="2000" i="0" u="none" strike="noStrike" cap="none" spc="0" normalizeH="0" baseline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Segoe UI Light"/>
                <a:cs typeface="+mn-cs"/>
              </a:defRPr>
            </a:lvl1pPr>
          </a:lstStyle>
          <a:p>
            <a:pPr marR="0" lvl="0" defTabSz="685800" fontAlgn="auto"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/>
              <a:t>Killer quote or call-out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7505700" y="1850433"/>
            <a:ext cx="4229100" cy="2835867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Screenshot of app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10325100" y="457200"/>
            <a:ext cx="1409700" cy="1409700"/>
          </a:xfrm>
        </p:spPr>
        <p:txBody>
          <a:bodyPr anchor="ctr"/>
          <a:lstStyle>
            <a:lvl1pPr algn="ctr">
              <a:defRPr sz="1600">
                <a:solidFill>
                  <a:srgbClr val="B4009E"/>
                </a:solidFill>
              </a:defRPr>
            </a:lvl1pPr>
          </a:lstStyle>
          <a:p>
            <a:r>
              <a:rPr lang="en-US"/>
              <a:t>App icon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CD07E1E7-510F-478E-A61F-831872E92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98679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8D0870-56E3-CC4D-A4D2-14FCF7EBAD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5F529DB-55F5-443A-A153-4B9166B90D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899"/>
            <a:ext cx="6858000" cy="4533899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13174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enefi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6087344" y="4851708"/>
            <a:ext cx="5631517" cy="1564792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 marL="0" indent="0"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Reason to believe</a:t>
            </a:r>
          </a:p>
          <a:p>
            <a:pPr lvl="0"/>
            <a:r>
              <a:rPr lang="en-US"/>
              <a:t>Reason to believe</a:t>
            </a:r>
          </a:p>
        </p:txBody>
      </p:sp>
      <p:sp>
        <p:nvSpPr>
          <p:cNvPr id="12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6103282" y="2757189"/>
            <a:ext cx="5631517" cy="1412875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Reason to believe</a:t>
            </a:r>
          </a:p>
          <a:p>
            <a:pPr lvl="0"/>
            <a:r>
              <a:rPr lang="en-US"/>
              <a:t>Reason to believe</a:t>
            </a:r>
            <a:endParaRPr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73103" y="1866901"/>
            <a:ext cx="5630178" cy="4229099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AFB50-C9C6-4A7E-95B0-BCD4CC5AD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3281" y="1866900"/>
            <a:ext cx="5631519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0E2ADD4-807F-4A38-AA9A-901D0FD363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87344" y="3960546"/>
            <a:ext cx="5631519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59110E6B-B1B3-4C17-A980-291E240D0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E85EB5-4D05-7249-837C-024FBED9730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4E78E25-AA27-2840-A6EC-9C7A33D92FEF}"/>
              </a:ext>
            </a:extLst>
          </p:cNvPr>
          <p:cNvSpPr>
            <a:spLocks noGrp="1"/>
          </p:cNvSpPr>
          <p:nvPr>
            <p:ph type="subTitle" idx="30"/>
          </p:nvPr>
        </p:nvSpPr>
        <p:spPr>
          <a:xfrm>
            <a:off x="457200" y="118110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4140663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enefit Compl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8711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0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473102" y="5529995"/>
            <a:ext cx="7032813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325100" y="1866901"/>
            <a:ext cx="1422400" cy="141665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325100" y="3283551"/>
            <a:ext cx="1422400" cy="1402749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325100" y="4686300"/>
            <a:ext cx="1422400" cy="140970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tabLst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32"/>
          </p:nvPr>
        </p:nvSpPr>
        <p:spPr>
          <a:xfrm>
            <a:off x="92427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505700" y="2639727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915401" y="2640072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1" y="1184851"/>
            <a:ext cx="11277600" cy="35885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defRPr sz="28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8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473102" y="2420863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6213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  <p:sp>
        <p:nvSpPr>
          <p:cNvPr id="41" name="Shape 69"/>
          <p:cNvSpPr txBox="1">
            <a:spLocks noGrp="1"/>
          </p:cNvSpPr>
          <p:nvPr>
            <p:ph type="body" idx="47" hasCustomPrompt="1"/>
          </p:nvPr>
        </p:nvSpPr>
        <p:spPr>
          <a:xfrm>
            <a:off x="473102" y="3961029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DBC2D7F7-6E7E-44B0-9137-6394EDEBD68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3102" y="1756923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A21BECF-1C2F-4A19-8137-0F48B9B642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3102" y="3283551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247880E-91C6-4030-A719-9DC584A44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73102" y="4850048"/>
            <a:ext cx="7032705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B52D364F-72A4-46BE-A18B-3517A057A5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3102" y="213678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50C5830-E768-414C-8F74-6328F4AA19F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3102" y="366650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0F45D579-F485-4F2B-B066-B4F9B33DA8B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73102" y="5227116"/>
            <a:ext cx="7032705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itle Placeholder 2">
            <a:extLst>
              <a:ext uri="{FF2B5EF4-FFF2-40B4-BE49-F238E27FC236}">
                <a16:creationId xmlns:a16="http://schemas.microsoft.com/office/drawing/2014/main" id="{35BB5920-8F82-4ED5-ABA9-3217C73AC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6863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57"/>
          </p:nvPr>
        </p:nvSpPr>
        <p:spPr>
          <a:xfrm>
            <a:off x="78711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58"/>
          </p:nvPr>
        </p:nvSpPr>
        <p:spPr>
          <a:xfrm>
            <a:off x="92427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505700" y="4049141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8915401" y="4049486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61"/>
          </p:nvPr>
        </p:nvSpPr>
        <p:spPr>
          <a:xfrm>
            <a:off x="78711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62"/>
          </p:nvPr>
        </p:nvSpPr>
        <p:spPr>
          <a:xfrm>
            <a:off x="92427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7505700" y="5451679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8915401" y="5452024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012CF-3C73-0C45-ABD9-90FC1E3C69E2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7231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82740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2 column -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4613623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column -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819900" y="457200"/>
            <a:ext cx="4914900" cy="56388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725FBCD-B594-4CE0-B97E-6B199DCD5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6362700" cy="1409700"/>
          </a:xfrm>
          <a:prstGeom prst="rect">
            <a:avLst/>
          </a:prstGeom>
        </p:spPr>
        <p:txBody>
          <a:bodyPr vert="horz" lIns="0" tIns="0" rIns="27432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3DBD94-70C4-8646-BE45-F7612087AC4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1926A96-C004-4096-9D90-1712BB110B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6362700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2240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52563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1-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7150A5-603E-45CB-90ED-88D5F012D78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0723" y="1887751"/>
            <a:ext cx="11254077" cy="4208249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34427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1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A3AC42-E7E4-4837-AD6D-7372F7227A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4F77650-FFA2-4226-8961-E8D673467F2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73204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2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039586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15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3274985"/>
            <a:ext cx="5638800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Bullet level one</a:t>
            </a:r>
          </a:p>
          <a:p>
            <a:pPr lvl="1"/>
            <a:r>
              <a:rPr lang="en-US"/>
              <a:t>Bullet level two</a:t>
            </a:r>
            <a:endParaRPr/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9BE0A8BE-2DE1-4F0B-A55F-DCADF0E5C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hape 69">
            <a:extLst>
              <a:ext uri="{FF2B5EF4-FFF2-40B4-BE49-F238E27FC236}">
                <a16:creationId xmlns:a16="http://schemas.microsoft.com/office/drawing/2014/main" id="{428E945F-C6CF-114F-9853-8A907768C6C9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6625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  <a:endParaRPr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7E329BEC-C2D0-C143-A502-5AB72E37BFE3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662939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DD05D2-30AD-CE4A-A02B-114257D5F8C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Shape 69">
            <a:extLst>
              <a:ext uri="{FF2B5EF4-FFF2-40B4-BE49-F238E27FC236}">
                <a16:creationId xmlns:a16="http://schemas.microsoft.com/office/drawing/2014/main" id="{78CCEAB4-4301-9D4F-98B7-3C7144E5A3D5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3274985"/>
            <a:ext cx="5638799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Bullet level one</a:t>
            </a:r>
          </a:p>
          <a:p>
            <a:pPr lvl="1"/>
            <a:r>
              <a:rPr lang="en-US"/>
              <a:t>Bullet level two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2758744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3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4097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73E1BA87-D25C-4F80-86CD-39C9FF7CD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1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hape 69">
            <a:extLst>
              <a:ext uri="{FF2B5EF4-FFF2-40B4-BE49-F238E27FC236}">
                <a16:creationId xmlns:a16="http://schemas.microsoft.com/office/drawing/2014/main" id="{BA65E103-69D9-5D45-B5F7-D01042ED1368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13876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  <a:endParaRPr/>
          </a:p>
        </p:txBody>
      </p:sp>
      <p:sp>
        <p:nvSpPr>
          <p:cNvPr id="16" name="Shape 69">
            <a:extLst>
              <a:ext uri="{FF2B5EF4-FFF2-40B4-BE49-F238E27FC236}">
                <a16:creationId xmlns:a16="http://schemas.microsoft.com/office/drawing/2014/main" id="{3AAC50CE-DE03-A34A-8A83-25D7519888FE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1388454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5AB7D-B686-4C4C-ACED-3F0D7A4F737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8EE58690-5E7F-C345-9E54-40916B1A6C53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4000500"/>
            <a:ext cx="5638800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Bullet level one</a:t>
            </a:r>
          </a:p>
          <a:p>
            <a:pPr lvl="1"/>
            <a:r>
              <a:rPr lang="en-US"/>
              <a:t>Bullet level two</a:t>
            </a:r>
            <a:endParaRPr/>
          </a:p>
        </p:txBody>
      </p:sp>
      <p:sp>
        <p:nvSpPr>
          <p:cNvPr id="21" name="Shape 69">
            <a:extLst>
              <a:ext uri="{FF2B5EF4-FFF2-40B4-BE49-F238E27FC236}">
                <a16:creationId xmlns:a16="http://schemas.microsoft.com/office/drawing/2014/main" id="{FD8EFF2A-00F8-1C47-B16D-242D1997A4AB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4000500"/>
            <a:ext cx="5638799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Bullet level one</a:t>
            </a:r>
          </a:p>
          <a:p>
            <a:pPr lvl="1"/>
            <a:r>
              <a:rPr lang="en-US"/>
              <a:t>Bullet level two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613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de 1-line +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102108" y="18669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6102108" y="2590800"/>
            <a:ext cx="5624740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>
                <a:solidFill>
                  <a:schemeClr val="accent6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21DF2AB-6814-A044-92C3-4909B9B4BF2A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02108" y="32766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D115A798-134E-9F4A-8926-D90F1F1E0789}"/>
              </a:ext>
            </a:extLst>
          </p:cNvPr>
          <p:cNvSpPr txBox="1">
            <a:spLocks noGrp="1"/>
          </p:cNvSpPr>
          <p:nvPr>
            <p:ph type="body" idx="49" hasCustomPrompt="1"/>
          </p:nvPr>
        </p:nvSpPr>
        <p:spPr>
          <a:xfrm>
            <a:off x="6102108" y="4000500"/>
            <a:ext cx="5624740" cy="6783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9DE6605-90A7-CC4B-B3A0-0B82C572B9D9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096000" y="4678833"/>
            <a:ext cx="5623114" cy="693267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3EEC4BDE-E6C0-654A-B50A-49A221B458B8}"/>
              </a:ext>
            </a:extLst>
          </p:cNvPr>
          <p:cNvSpPr txBox="1">
            <a:spLocks noGrp="1"/>
          </p:cNvSpPr>
          <p:nvPr>
            <p:ph type="body" idx="51" hasCustomPrompt="1"/>
          </p:nvPr>
        </p:nvSpPr>
        <p:spPr>
          <a:xfrm>
            <a:off x="6096000" y="5372101"/>
            <a:ext cx="5624740" cy="723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/>
              <a:t>Bullet level two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77977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C Screen +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678" y="1433031"/>
            <a:ext cx="5700644" cy="5429877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09222" y="1839351"/>
            <a:ext cx="5409100" cy="5007646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4ED96F2B-B9BA-4E98-B1E2-09D18F6A5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236E7C6A-A303-4FDB-B6B8-5D88290F2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26624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74C8F2-F047-4FCF-8943-2578FE19FE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39352"/>
            <a:ext cx="5622897" cy="4541596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287119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C Screen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57" y="1414770"/>
            <a:ext cx="5817866" cy="54432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0" y="1827037"/>
            <a:ext cx="5422401" cy="501996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A148A8CD-2643-4A3A-8ACB-8D5DC84BC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8001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C9A58A-9A2E-054F-968B-0EAFEE732C6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DD260C-CCCD-467E-AF20-0BCBF4300AC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39352"/>
            <a:ext cx="5638799" cy="45415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689542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C Screen +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4553" y="1439579"/>
            <a:ext cx="5693769" cy="54233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19900" y="1849235"/>
            <a:ext cx="5398422" cy="4997761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C5D7497-43E0-43D6-8854-1B74C949DE0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882801" y="1183713"/>
            <a:ext cx="2803500" cy="2092885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3E5DE2-86E4-48F3-A62D-D5DF9BDF85B0}"/>
              </a:ext>
            </a:extLst>
          </p:cNvPr>
          <p:cNvCxnSpPr>
            <a:cxnSpLocks/>
          </p:cNvCxnSpPr>
          <p:nvPr/>
        </p:nvCxnSpPr>
        <p:spPr>
          <a:xfrm>
            <a:off x="473102" y="3894138"/>
            <a:ext cx="562289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Shape 78">
            <a:extLst>
              <a:ext uri="{FF2B5EF4-FFF2-40B4-BE49-F238E27FC236}">
                <a16:creationId xmlns:a16="http://schemas.microsoft.com/office/drawing/2014/main" id="{71C8E277-7D4C-447B-AFAB-D7CF24D9E342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73102" y="3276599"/>
            <a:ext cx="5622898" cy="720506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/>
              <a:t>Column 1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70591C03-C195-4562-B18E-1D79C2C9AE21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73102" y="3997105"/>
            <a:ext cx="5622898" cy="2325956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/>
              <a:t>level two</a:t>
            </a: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266178FF-475A-4E85-B10B-BB484DCB9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79B7A28B-DF7F-46F2-924F-B96EF909C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39031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80671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Hidde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7B6D2C-4312-4967-BAAC-9D48AEB848A3}"/>
              </a:ext>
            </a:extLst>
          </p:cNvPr>
          <p:cNvSpPr/>
          <p:nvPr/>
        </p:nvSpPr>
        <p:spPr>
          <a:xfrm>
            <a:off x="0" y="6246796"/>
            <a:ext cx="12192000" cy="611204"/>
          </a:xfrm>
          <a:prstGeom prst="rect">
            <a:avLst/>
          </a:prstGeom>
          <a:solidFill>
            <a:srgbClr val="92D05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69540-D041-46CC-B2E2-E9066012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534536-D30D-44F8-BCC3-003C1D55AB01}"/>
              </a:ext>
            </a:extLst>
          </p:cNvPr>
          <p:cNvSpPr txBox="1"/>
          <p:nvPr/>
        </p:nvSpPr>
        <p:spPr>
          <a:xfrm>
            <a:off x="105878" y="6306176"/>
            <a:ext cx="4032985" cy="492443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solidFill>
                  <a:srgbClr val="000000"/>
                </a:solidFill>
              </a:rPr>
              <a:t>Hidden Slid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AD671C-BBA0-4AB5-91D7-E4F245ACA4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3102" y="1257300"/>
            <a:ext cx="11261697" cy="4980888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AE94F-5DCA-ED49-8E82-3CDE4E8691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05736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13BDE-36BB-4D11-B81B-568D4343B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27012D-541D-41BC-84A8-479C8E1725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60566-53D5-405E-8A33-1ED57B348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FBD6-2BE0-4074-966A-31DFFC4B0926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8F347C-53C5-40A7-805E-57E3349BB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F3C4C5-A311-4A2A-BE54-C2BF82C12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513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E5786-983D-BF40-A200-E6EE20704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3617"/>
            <a:ext cx="10515600" cy="748568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502CBB-BC10-AD4E-B872-2BAD1A3C3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2555510"/>
            <a:ext cx="4643438" cy="66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354359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29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487721"/>
          </a:xfrm>
        </p:spPr>
        <p:txBody>
          <a:bodyPr/>
          <a:lstStyle>
            <a:lvl1pPr marL="0" indent="0">
              <a:buNone/>
              <a:defRPr sz="156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</a:defRPr>
            </a:lvl1pPr>
            <a:lvl2pPr marL="340627" indent="0">
              <a:buFontTx/>
              <a:buNone/>
              <a:defRPr sz="1568"/>
            </a:lvl2pPr>
            <a:lvl3pPr marL="564723" indent="0">
              <a:buNone/>
              <a:defRPr sz="1568"/>
            </a:lvl3pPr>
            <a:lvl4pPr marL="788820" indent="0">
              <a:buNone/>
              <a:defRPr sz="1568"/>
            </a:lvl4pPr>
            <a:lvl5pPr marL="1012917" indent="0">
              <a:buNone/>
              <a:defRPr sz="156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073085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Cyan 3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7"/>
            <a:ext cx="11653523" cy="1796217"/>
          </a:xfrm>
          <a:noFill/>
        </p:spPr>
        <p:txBody>
          <a:bodyPr tIns="91440" bIns="91440" anchor="t" anchorCtr="0"/>
          <a:lstStyle>
            <a:lvl1pPr>
              <a:defRPr sz="3460" spc="-96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6851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Process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7"/>
            <a:ext cx="11653523" cy="1796217"/>
          </a:xfrm>
          <a:noFill/>
        </p:spPr>
        <p:txBody>
          <a:bodyPr tIns="91440" bIns="91440" anchor="t" anchorCtr="0"/>
          <a:lstStyle>
            <a:lvl1pPr>
              <a:defRPr sz="4613" spc="-96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0927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Lime 58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7"/>
            <a:ext cx="11653523" cy="1796217"/>
          </a:xfrm>
          <a:noFill/>
        </p:spPr>
        <p:txBody>
          <a:bodyPr tIns="91440" bIns="91440" anchor="t" anchorCtr="0"/>
          <a:lstStyle>
            <a:lvl1pPr>
              <a:defRPr sz="3460" spc="-96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17825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Teal 3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7"/>
            <a:ext cx="11653523" cy="1796217"/>
          </a:xfrm>
          <a:noFill/>
        </p:spPr>
        <p:txBody>
          <a:bodyPr tIns="91440" bIns="91440" anchor="t" anchorCtr="0"/>
          <a:lstStyle>
            <a:lvl1pPr>
              <a:defRPr sz="3460" spc="-96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74909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Cool Gray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7"/>
            <a:ext cx="11653523" cy="1796217"/>
          </a:xfrm>
          <a:noFill/>
        </p:spPr>
        <p:txBody>
          <a:bodyPr tIns="91440" bIns="91440" anchor="t" anchorCtr="0"/>
          <a:lstStyle>
            <a:lvl1pPr>
              <a:defRPr sz="3460" spc="-96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562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862635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1189175"/>
            <a:ext cx="11655840" cy="905308"/>
          </a:xfr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</p:txBody>
      </p:sp>
    </p:spTree>
    <p:extLst>
      <p:ext uri="{BB962C8B-B14F-4D97-AF65-F5344CB8AC3E}">
        <p14:creationId xmlns:p14="http://schemas.microsoft.com/office/powerpoint/2010/main" val="301205208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269241" y="1934747"/>
            <a:ext cx="11655840" cy="4482759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1189176"/>
            <a:ext cx="11655840" cy="67085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line 1</a:t>
            </a:r>
          </a:p>
          <a:p>
            <a:pPr lvl="0"/>
            <a:r>
              <a:rPr lang="en-US"/>
              <a:t>Headline line 2</a:t>
            </a:r>
          </a:p>
        </p:txBody>
      </p:sp>
    </p:spTree>
    <p:extLst>
      <p:ext uri="{BB962C8B-B14F-4D97-AF65-F5344CB8AC3E}">
        <p14:creationId xmlns:p14="http://schemas.microsoft.com/office/powerpoint/2010/main" val="3283924021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268928" y="1192415"/>
            <a:ext cx="11655840" cy="5215151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40325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71385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+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187961" y="1945231"/>
            <a:ext cx="5737119" cy="447227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1945232"/>
            <a:ext cx="5737119" cy="4472274"/>
          </a:xfrm>
        </p:spPr>
        <p:txBody>
          <a:bodyPr>
            <a:noAutofit/>
          </a:bodyPr>
          <a:lstStyle>
            <a:lvl1pPr>
              <a:defRPr sz="1568" b="0">
                <a:solidFill>
                  <a:schemeClr val="tx1"/>
                </a:solidFill>
              </a:defRPr>
            </a:lvl1pPr>
            <a:lvl2pPr marL="224097" indent="0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69240" y="1189176"/>
            <a:ext cx="11655840" cy="67085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line 1</a:t>
            </a:r>
          </a:p>
          <a:p>
            <a:pPr lvl="0"/>
            <a:r>
              <a:rPr lang="en-US"/>
              <a:t>Headline line 2</a:t>
            </a:r>
          </a:p>
        </p:txBody>
      </p:sp>
    </p:spTree>
    <p:extLst>
      <p:ext uri="{BB962C8B-B14F-4D97-AF65-F5344CB8AC3E}">
        <p14:creationId xmlns:p14="http://schemas.microsoft.com/office/powerpoint/2010/main" val="356411229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187961" y="1273596"/>
            <a:ext cx="5737119" cy="5144688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1273597"/>
            <a:ext cx="5737119" cy="5143909"/>
          </a:xfrm>
        </p:spPr>
        <p:txBody>
          <a:bodyPr>
            <a:noAutofit/>
          </a:bodyPr>
          <a:lstStyle>
            <a:lvl1pPr>
              <a:defRPr sz="1568" b="0">
                <a:solidFill>
                  <a:schemeClr val="tx1"/>
                </a:solidFill>
              </a:defRPr>
            </a:lvl1pPr>
            <a:lvl2pPr marL="224097" indent="0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74669948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1945235"/>
            <a:ext cx="5737119" cy="4472271"/>
          </a:xfrm>
        </p:spPr>
        <p:txBody>
          <a:bodyPr>
            <a:noAutofit/>
          </a:bodyPr>
          <a:lstStyle>
            <a:lvl1pPr>
              <a:defRPr sz="1176" b="0">
                <a:solidFill>
                  <a:schemeClr val="tx1"/>
                </a:solidFill>
              </a:defRPr>
            </a:lvl1pPr>
            <a:lvl2pPr marL="280121" indent="-280121">
              <a:buFont typeface="Arial" panose="020B0604020202020204" pitchFamily="34" charset="0"/>
              <a:buChar char="•"/>
              <a:defRPr sz="1176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187961" y="1945233"/>
            <a:ext cx="5737119" cy="4472272"/>
          </a:xfrm>
        </p:spPr>
        <p:txBody>
          <a:bodyPr>
            <a:noAutofit/>
          </a:bodyPr>
          <a:lstStyle>
            <a:lvl1pPr>
              <a:defRPr sz="1176" b="0">
                <a:solidFill>
                  <a:schemeClr val="tx1"/>
                </a:solidFill>
              </a:defRPr>
            </a:lvl1pPr>
            <a:lvl2pPr marL="280121" indent="-280121">
              <a:buFont typeface="Arial" panose="020B0604020202020204" pitchFamily="34" charset="0"/>
              <a:buChar char="•"/>
              <a:defRPr sz="1176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69240" y="1189176"/>
            <a:ext cx="11655840" cy="67085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Headline line 1</a:t>
            </a:r>
          </a:p>
          <a:p>
            <a:pPr lvl="0"/>
            <a:r>
              <a:rPr lang="en-US"/>
              <a:t>Headline line 2</a:t>
            </a:r>
          </a:p>
        </p:txBody>
      </p:sp>
    </p:spTree>
    <p:extLst>
      <p:ext uri="{BB962C8B-B14F-4D97-AF65-F5344CB8AC3E}">
        <p14:creationId xmlns:p14="http://schemas.microsoft.com/office/powerpoint/2010/main" val="3662714421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02185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FFFF"/>
              </a:buClr>
              <a:buSzPct val="90000"/>
              <a:buFont typeface="Arial" pitchFamily="34" charset="0"/>
              <a:buNone/>
              <a:defRPr sz="2745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284789" indent="0">
              <a:buClr>
                <a:srgbClr val="FFFFFF"/>
              </a:buClr>
              <a:buSzPct val="90000"/>
              <a:buFont typeface="Arial" pitchFamily="34" charset="0"/>
              <a:buNone/>
              <a:defRPr sz="2353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560241" indent="0">
              <a:buClr>
                <a:srgbClr val="FFFFFF"/>
              </a:buClr>
              <a:buSzPct val="90000"/>
              <a:buFont typeface="Arial" pitchFamily="34" charset="0"/>
              <a:buNone/>
              <a:defRPr sz="2353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845031" indent="0">
              <a:buClr>
                <a:srgbClr val="FFFFFF"/>
              </a:buClr>
              <a:buSzPct val="90000"/>
              <a:buFont typeface="Arial" pitchFamily="34" charset="0"/>
              <a:buNone/>
              <a:defRPr sz="1961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069128" indent="0">
              <a:buClr>
                <a:srgbClr val="FFFFFF"/>
              </a:buClr>
              <a:buSzPct val="90000"/>
              <a:buFont typeface="Arial" pitchFamily="34" charset="0"/>
              <a:buNone/>
              <a:defRPr sz="1961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sz="3529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5051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1 Power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6675" y="6559171"/>
            <a:ext cx="3327400" cy="320537"/>
          </a:xfrm>
        </p:spPr>
        <p:txBody>
          <a:bodyPr anchor="ctr" anchorCtr="0"/>
          <a:lstStyle>
            <a:lvl1pPr>
              <a:defRPr sz="981">
                <a:solidFill>
                  <a:schemeClr val="tx1"/>
                </a:solidFill>
              </a:defRPr>
            </a:lvl1pPr>
            <a:lvl2pPr>
              <a:defRPr sz="981"/>
            </a:lvl2pPr>
            <a:lvl3pPr>
              <a:defRPr sz="981"/>
            </a:lvl3pPr>
            <a:lvl4pPr>
              <a:defRPr sz="981"/>
            </a:lvl4pPr>
            <a:lvl5pPr>
              <a:defRPr sz="981"/>
            </a:lvl5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6DE464-4004-4B90-9011-40339913C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3525" y="127322"/>
            <a:ext cx="11658600" cy="821802"/>
          </a:xfrm>
        </p:spPr>
        <p:txBody>
          <a:bodyPr/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ommentary </a:t>
            </a:r>
          </a:p>
        </p:txBody>
      </p:sp>
    </p:spTree>
    <p:extLst>
      <p:ext uri="{BB962C8B-B14F-4D97-AF65-F5344CB8AC3E}">
        <p14:creationId xmlns:p14="http://schemas.microsoft.com/office/powerpoint/2010/main" val="11374521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1 Power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6675" y="6559171"/>
            <a:ext cx="3327400" cy="320537"/>
          </a:xfrm>
        </p:spPr>
        <p:txBody>
          <a:bodyPr anchor="ctr" anchorCtr="0"/>
          <a:lstStyle>
            <a:lvl1pPr>
              <a:defRPr sz="981">
                <a:solidFill>
                  <a:schemeClr val="tx1"/>
                </a:solidFill>
              </a:defRPr>
            </a:lvl1pPr>
            <a:lvl2pPr>
              <a:defRPr sz="981"/>
            </a:lvl2pPr>
            <a:lvl3pPr>
              <a:defRPr sz="981"/>
            </a:lvl3pPr>
            <a:lvl4pPr>
              <a:defRPr sz="981"/>
            </a:lvl4pPr>
            <a:lvl5pPr>
              <a:defRPr sz="981"/>
            </a:lvl5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6DE464-4004-4B90-9011-40339913C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3525" y="368145"/>
            <a:ext cx="11658600" cy="627864"/>
          </a:xfrm>
        </p:spPr>
        <p:txBody>
          <a:bodyPr/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Metri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0B5DBC2-A55F-4835-A771-6156666391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3525" y="998537"/>
            <a:ext cx="11658600" cy="572464"/>
          </a:xfrm>
        </p:spPr>
        <p:txBody>
          <a:bodyPr/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[Commentary]</a:t>
            </a:r>
          </a:p>
        </p:txBody>
      </p:sp>
    </p:spTree>
    <p:extLst>
      <p:ext uri="{BB962C8B-B14F-4D97-AF65-F5344CB8AC3E}">
        <p14:creationId xmlns:p14="http://schemas.microsoft.com/office/powerpoint/2010/main" val="3975669851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 Power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6675" y="6559171"/>
            <a:ext cx="3327400" cy="320537"/>
          </a:xfrm>
        </p:spPr>
        <p:txBody>
          <a:bodyPr anchor="ctr" anchorCtr="0"/>
          <a:lstStyle>
            <a:lvl1pPr>
              <a:defRPr sz="981">
                <a:solidFill>
                  <a:schemeClr val="tx1"/>
                </a:solidFill>
              </a:defRPr>
            </a:lvl1pPr>
            <a:lvl2pPr>
              <a:defRPr sz="981"/>
            </a:lvl2pPr>
            <a:lvl3pPr>
              <a:defRPr sz="981"/>
            </a:lvl3pPr>
            <a:lvl4pPr>
              <a:defRPr sz="981"/>
            </a:lvl4pPr>
            <a:lvl5pPr>
              <a:defRPr sz="981"/>
            </a:lvl5pPr>
          </a:lstStyle>
          <a:p>
            <a:pPr lvl="0"/>
            <a:r>
              <a:rPr lang="en-US"/>
              <a:t>Source: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5576F8-E55E-4BC1-9CE2-02D335F3F411}"/>
              </a:ext>
            </a:extLst>
          </p:cNvPr>
          <p:cNvCxnSpPr>
            <a:cxnSpLocks/>
          </p:cNvCxnSpPr>
          <p:nvPr userDrawn="1"/>
        </p:nvCxnSpPr>
        <p:spPr>
          <a:xfrm>
            <a:off x="8693065" y="428627"/>
            <a:ext cx="0" cy="45720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6DE464-4004-4B90-9011-40339913C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3525" y="315595"/>
            <a:ext cx="8166100" cy="683264"/>
          </a:xfrm>
        </p:spPr>
        <p:txBody>
          <a:bodyPr/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Metric na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CE118-E603-48A4-AD2D-85E5368B9F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60536" y="315595"/>
            <a:ext cx="3061388" cy="683264"/>
          </a:xfrm>
        </p:spPr>
        <p:txBody>
          <a:bodyPr/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Mont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0B5DBC2-A55F-4835-A771-6156666391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3525" y="998537"/>
            <a:ext cx="11658600" cy="572464"/>
          </a:xfrm>
        </p:spPr>
        <p:txBody>
          <a:bodyPr/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[Commentary]</a:t>
            </a:r>
          </a:p>
        </p:txBody>
      </p:sp>
    </p:spTree>
    <p:extLst>
      <p:ext uri="{BB962C8B-B14F-4D97-AF65-F5344CB8AC3E}">
        <p14:creationId xmlns:p14="http://schemas.microsoft.com/office/powerpoint/2010/main" val="137192191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4934"/>
            <a:ext cx="12202288" cy="6872934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6"/>
            <a:ext cx="11653523" cy="2091342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2336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6997" y="5425"/>
            <a:ext cx="1169227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36138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5999ED-F480-C740-A1F0-8786803292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09815" y="573927"/>
            <a:ext cx="5969000" cy="452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Title 18">
            <a:extLst>
              <a:ext uri="{FF2B5EF4-FFF2-40B4-BE49-F238E27FC236}">
                <a16:creationId xmlns:a16="http://schemas.microsoft.com/office/drawing/2014/main" id="{07616163-5C84-134C-AA39-5D05EA0CFB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259" y="598640"/>
            <a:ext cx="2794470" cy="427675"/>
          </a:xfrm>
          <a:prstGeom prst="rect">
            <a:avLst/>
          </a:prstGeom>
        </p:spPr>
        <p:txBody>
          <a:bodyPr/>
          <a:lstStyle>
            <a:lvl1pPr>
              <a:defRPr sz="1600" b="1" i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9D5C216-9C21-0E4B-85A3-178B99757B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815" y="1026315"/>
            <a:ext cx="5969000" cy="585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195321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Photo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47891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22" name="Picture 21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153B50F6-5903-4565-BE17-A0107074B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51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3000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22" name="Picture 21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A10A1598-2781-4754-9891-E335AAF2A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421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252571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330890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8024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64610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5319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20614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99038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E5786-983D-BF40-A200-E6EE20704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3616"/>
            <a:ext cx="10515600" cy="197986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“Quote.”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502CBB-BC10-AD4E-B872-2BAD1A3C3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912672"/>
            <a:ext cx="4643438" cy="66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– Attribute</a:t>
            </a:r>
          </a:p>
        </p:txBody>
      </p:sp>
    </p:spTree>
    <p:extLst>
      <p:ext uri="{BB962C8B-B14F-4D97-AF65-F5344CB8AC3E}">
        <p14:creationId xmlns:p14="http://schemas.microsoft.com/office/powerpoint/2010/main" val="34120426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044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37903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8612368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390480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7790228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72733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73626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673376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256556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73623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164F4C1-93FB-F94D-9B0C-5A7E465F70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3616"/>
            <a:ext cx="10515600" cy="197986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“</a:t>
            </a:r>
            <a:r>
              <a:rPr lang="en-US" err="1"/>
              <a:t>Qoute</a:t>
            </a:r>
            <a:r>
              <a:rPr lang="en-US"/>
              <a:t>.”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8AA855A-728C-4B4C-9F76-4C37627F69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912672"/>
            <a:ext cx="4643438" cy="66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– Attribute</a:t>
            </a:r>
          </a:p>
        </p:txBody>
      </p:sp>
    </p:spTree>
    <p:extLst>
      <p:ext uri="{BB962C8B-B14F-4D97-AF65-F5344CB8AC3E}">
        <p14:creationId xmlns:p14="http://schemas.microsoft.com/office/powerpoint/2010/main" val="30725398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2845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4546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3005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52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311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434657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E5786-983D-BF40-A200-E6EE20704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3617"/>
            <a:ext cx="10515600" cy="748568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502CBB-BC10-AD4E-B872-2BAD1A3C3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2555510"/>
            <a:ext cx="4643438" cy="66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596303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 (event n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2980726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7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7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18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7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050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0" y="2077802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70305" y="470067"/>
            <a:ext cx="1749412" cy="38410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A5BF7F-325C-441F-86E0-45FA700F02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38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18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3870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0" y="2077802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470067"/>
            <a:ext cx="1792850" cy="3841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B9C4B3-BBA2-4C09-AD7D-E43322A83D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38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5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54" indent="0">
              <a:buNone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20811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5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46478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05" indent="0">
              <a:buFont typeface="Wingdings" panose="05000000000000000000" pitchFamily="2" charset="2"/>
              <a:buNone/>
              <a:defRPr sz="2353" b="0"/>
            </a:lvl2pPr>
            <a:lvl3pPr marL="441883" indent="0">
              <a:buFont typeface="Wingdings" panose="05000000000000000000" pitchFamily="2" charset="2"/>
              <a:buNone/>
              <a:tabLst/>
              <a:defRPr sz="2157" b="0"/>
            </a:lvl3pPr>
            <a:lvl4pPr marL="639485" indent="0">
              <a:buFont typeface="Wingdings" panose="05000000000000000000" pitchFamily="2" charset="2"/>
              <a:buNone/>
              <a:defRPr sz="2157" b="0"/>
            </a:lvl4pPr>
            <a:lvl5pPr marL="837089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6221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05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83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85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089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120" marR="0" lvl="0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120" marR="0" lvl="1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120" marR="0" lvl="2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120" marR="0" lvl="3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120" marR="0" lvl="4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938118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4"/>
            <a:ext cx="5378548" cy="2115402"/>
          </a:xfrm>
        </p:spPr>
        <p:txBody>
          <a:bodyPr wrap="square">
            <a:spAutoFit/>
          </a:bodyPr>
          <a:lstStyle>
            <a:lvl1pPr marL="227165" indent="-22716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545" indent="-168040">
              <a:buFont typeface="Wingdings" panose="05000000000000000000" pitchFamily="2" charset="2"/>
              <a:buChar char=""/>
              <a:defRPr sz="2353" b="0"/>
            </a:lvl2pPr>
            <a:lvl3pPr marL="627039" indent="-185155">
              <a:buFont typeface="Wingdings" panose="05000000000000000000" pitchFamily="2" charset="2"/>
              <a:buChar char=""/>
              <a:tabLst/>
              <a:defRPr sz="2157" b="0"/>
            </a:lvl3pPr>
            <a:lvl4pPr marL="812194" indent="-172709">
              <a:buFont typeface="Wingdings" panose="05000000000000000000" pitchFamily="2" charset="2"/>
              <a:buChar char=""/>
              <a:defRPr sz="2157" b="0"/>
            </a:lvl4pPr>
            <a:lvl5pPr marL="1003573" indent="-166485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62213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85" indent="-336080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963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565" indent="-336080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170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65" marR="0" lvl="0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65" marR="0" lvl="1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65" marR="0" lvl="2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65" marR="0" lvl="3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65" marR="0" lvl="4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236847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91B1E1-5C1C-4C9A-8BF4-C36029BF7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91B1E1-5C1C-4C9A-8BF4-C36029BF7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826468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7271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73243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127410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1076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4799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4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441099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0917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8613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784352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79259" rIns="179259" bIns="179259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7" y="475390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35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8787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solidFill>
                  <a:schemeClr val="accent4">
                    <a:lumMod val="75000"/>
                  </a:schemeClr>
                </a:solidFill>
              </a:defRPr>
            </a:lvl1pPr>
            <a:lvl2pPr>
              <a:defRPr>
                <a:solidFill>
                  <a:srgbClr val="7030A0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17934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>
            <a:spAutoFit/>
          </a:bodyPr>
          <a:lstStyle>
            <a:lvl1pPr>
              <a:defRPr sz="3527">
                <a:solidFill>
                  <a:schemeClr val="accent4">
                    <a:lumMod val="75000"/>
                  </a:schemeClr>
                </a:solidFill>
              </a:defRPr>
            </a:lvl1pPr>
            <a:lvl2pPr>
              <a:defRPr>
                <a:solidFill>
                  <a:srgbClr val="7030A0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277538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000" cy="1000664"/>
          </a:xfrm>
          <a:solidFill>
            <a:srgbClr val="0070C0"/>
          </a:solidFill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22815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4B3F6DE-85F2-4F1F-B5B9-FF95D389F4B2}"/>
              </a:ext>
            </a:extLst>
          </p:cNvPr>
          <p:cNvGrpSpPr/>
          <p:nvPr userDrawn="1"/>
        </p:nvGrpSpPr>
        <p:grpSpPr>
          <a:xfrm>
            <a:off x="418673" y="6377904"/>
            <a:ext cx="2771618" cy="464999"/>
            <a:chOff x="427068" y="6504871"/>
            <a:chExt cx="2827195" cy="474256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7068" y="6649657"/>
              <a:ext cx="2631122" cy="183782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5093F38-A60D-4F52-A3C4-77B5D119A525}"/>
                </a:ext>
              </a:extLst>
            </p:cNvPr>
            <p:cNvSpPr txBox="1"/>
            <p:nvPr userDrawn="1"/>
          </p:nvSpPr>
          <p:spPr>
            <a:xfrm>
              <a:off x="1462658" y="6504871"/>
              <a:ext cx="1791605" cy="47425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86521" tIns="149217" rIns="186521" bIns="149217" rtlCol="0">
              <a:spAutoFit/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orldwide Learning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8645" y="1189177"/>
            <a:ext cx="11357003" cy="51987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F1E6A-CEDE-45BF-9EFB-B8D64C3D25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45803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387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12269" y="1222570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68310" y="2811222"/>
            <a:ext cx="10773080" cy="2984830"/>
          </a:xfrm>
        </p:spPr>
        <p:txBody>
          <a:bodyPr lIns="0" tIns="0" rIns="0" bIns="0">
            <a:noAutofit/>
          </a:bodyPr>
          <a:lstStyle>
            <a:lvl1pPr marL="166514" marR="0" indent="-166514" algn="l" defTabSz="498603" rtl="0" eaLnBrk="1" fontAlgn="auto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sz="1765" b="0" kern="1200" cap="none" spc="0" baseline="0" dirty="0" smtClean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435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765" kern="1200" dirty="0" smtClean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2pPr>
            <a:lvl3pPr marL="6069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lang="en-US" sz="1765" kern="1200" baseline="0" dirty="0" smtClean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3pPr>
            <a:lvl4pPr marL="77187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None/>
              <a:defRPr lang="en-US" sz="1765" kern="1200" dirty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marL="166514" lvl="0" indent="-166514" algn="l" defTabSz="498603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1</a:t>
            </a:r>
          </a:p>
          <a:p>
            <a:pPr marL="334586" lvl="1" indent="-171182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2</a:t>
            </a:r>
          </a:p>
          <a:p>
            <a:pPr marL="501099" lvl="2" indent="-174294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3</a:t>
            </a:r>
          </a:p>
          <a:p>
            <a:pPr marL="622483" lvl="3" indent="-130721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4</a:t>
            </a:r>
          </a:p>
        </p:txBody>
      </p:sp>
      <p:sp>
        <p:nvSpPr>
          <p:cNvPr id="8" name="Freeform 5"/>
          <p:cNvSpPr>
            <a:spLocks noChangeAspect="1" noEditPoints="1"/>
          </p:cNvSpPr>
          <p:nvPr userDrawn="1"/>
        </p:nvSpPr>
        <p:spPr bwMode="auto">
          <a:xfrm>
            <a:off x="9994483" y="6036585"/>
            <a:ext cx="1512748" cy="197241"/>
          </a:xfrm>
          <a:custGeom>
            <a:avLst/>
            <a:gdLst>
              <a:gd name="T0" fmla="*/ 22421 w 23638"/>
              <a:gd name="T1" fmla="*/ 1573 h 3074"/>
              <a:gd name="T2" fmla="*/ 23498 w 23638"/>
              <a:gd name="T3" fmla="*/ 1686 h 3074"/>
              <a:gd name="T4" fmla="*/ 22990 w 23638"/>
              <a:gd name="T5" fmla="*/ 737 h 3074"/>
              <a:gd name="T6" fmla="*/ 22928 w 23638"/>
              <a:gd name="T7" fmla="*/ 2377 h 3074"/>
              <a:gd name="T8" fmla="*/ 22381 w 23638"/>
              <a:gd name="T9" fmla="*/ 2808 h 3074"/>
              <a:gd name="T10" fmla="*/ 23638 w 23638"/>
              <a:gd name="T11" fmla="*/ 775 h 3074"/>
              <a:gd name="T12" fmla="*/ 20860 w 23638"/>
              <a:gd name="T13" fmla="*/ 1060 h 3074"/>
              <a:gd name="T14" fmla="*/ 20854 w 23638"/>
              <a:gd name="T15" fmla="*/ 2339 h 3074"/>
              <a:gd name="T16" fmla="*/ 21776 w 23638"/>
              <a:gd name="T17" fmla="*/ 2339 h 3074"/>
              <a:gd name="T18" fmla="*/ 20212 w 23638"/>
              <a:gd name="T19" fmla="*/ 2339 h 3074"/>
              <a:gd name="T20" fmla="*/ 20141 w 23638"/>
              <a:gd name="T21" fmla="*/ 149 h 3074"/>
              <a:gd name="T22" fmla="*/ 20225 w 23638"/>
              <a:gd name="T23" fmla="*/ 346 h 3074"/>
              <a:gd name="T24" fmla="*/ 18545 w 23638"/>
              <a:gd name="T25" fmla="*/ 1060 h 3074"/>
              <a:gd name="T26" fmla="*/ 18539 w 23638"/>
              <a:gd name="T27" fmla="*/ 2339 h 3074"/>
              <a:gd name="T28" fmla="*/ 19461 w 23638"/>
              <a:gd name="T29" fmla="*/ 2339 h 3074"/>
              <a:gd name="T30" fmla="*/ 17518 w 23638"/>
              <a:gd name="T31" fmla="*/ 1122 h 3074"/>
              <a:gd name="T32" fmla="*/ 17512 w 23638"/>
              <a:gd name="T33" fmla="*/ 2339 h 3074"/>
              <a:gd name="T34" fmla="*/ 18113 w 23638"/>
              <a:gd name="T35" fmla="*/ 922 h 3074"/>
              <a:gd name="T36" fmla="*/ 16764 w 23638"/>
              <a:gd name="T37" fmla="*/ 1651 h 3074"/>
              <a:gd name="T38" fmla="*/ 15980 w 23638"/>
              <a:gd name="T39" fmla="*/ 1680 h 3074"/>
              <a:gd name="T40" fmla="*/ 16122 w 23638"/>
              <a:gd name="T41" fmla="*/ 787 h 3074"/>
              <a:gd name="T42" fmla="*/ 16283 w 23638"/>
              <a:gd name="T43" fmla="*/ 1441 h 3074"/>
              <a:gd name="T44" fmla="*/ 16758 w 23638"/>
              <a:gd name="T45" fmla="*/ 2026 h 3074"/>
              <a:gd name="T46" fmla="*/ 14467 w 23638"/>
              <a:gd name="T47" fmla="*/ 1014 h 3074"/>
              <a:gd name="T48" fmla="*/ 15441 w 23638"/>
              <a:gd name="T49" fmla="*/ 1563 h 3074"/>
              <a:gd name="T50" fmla="*/ 14228 w 23638"/>
              <a:gd name="T51" fmla="*/ 1135 h 3074"/>
              <a:gd name="T52" fmla="*/ 15354 w 23638"/>
              <a:gd name="T53" fmla="*/ 2055 h 3074"/>
              <a:gd name="T54" fmla="*/ 13878 w 23638"/>
              <a:gd name="T55" fmla="*/ 2339 h 3074"/>
              <a:gd name="T56" fmla="*/ 12848 w 23638"/>
              <a:gd name="T57" fmla="*/ 2339 h 3074"/>
              <a:gd name="T58" fmla="*/ 11367 w 23638"/>
              <a:gd name="T59" fmla="*/ 1936 h 3074"/>
              <a:gd name="T60" fmla="*/ 11367 w 23638"/>
              <a:gd name="T61" fmla="*/ 322 h 3074"/>
              <a:gd name="T62" fmla="*/ 11226 w 23638"/>
              <a:gd name="T63" fmla="*/ 904 h 3074"/>
              <a:gd name="T64" fmla="*/ 10898 w 23638"/>
              <a:gd name="T65" fmla="*/ 29 h 3074"/>
              <a:gd name="T66" fmla="*/ 10017 w 23638"/>
              <a:gd name="T67" fmla="*/ 775 h 3074"/>
              <a:gd name="T68" fmla="*/ 10438 w 23638"/>
              <a:gd name="T69" fmla="*/ 904 h 3074"/>
              <a:gd name="T70" fmla="*/ 10727 w 23638"/>
              <a:gd name="T71" fmla="*/ 128 h 3074"/>
              <a:gd name="T72" fmla="*/ 9609 w 23638"/>
              <a:gd name="T73" fmla="*/ 2066 h 3074"/>
              <a:gd name="T74" fmla="*/ 9181 w 23638"/>
              <a:gd name="T75" fmla="*/ 866 h 3074"/>
              <a:gd name="T76" fmla="*/ 9187 w 23638"/>
              <a:gd name="T77" fmla="*/ 737 h 3074"/>
              <a:gd name="T78" fmla="*/ 9708 w 23638"/>
              <a:gd name="T79" fmla="*/ 2152 h 3074"/>
              <a:gd name="T80" fmla="*/ 7723 w 23638"/>
              <a:gd name="T81" fmla="*/ 1495 h 3074"/>
              <a:gd name="T82" fmla="*/ 7744 w 23638"/>
              <a:gd name="T83" fmla="*/ 866 h 3074"/>
              <a:gd name="T84" fmla="*/ 7254 w 23638"/>
              <a:gd name="T85" fmla="*/ 1163 h 3074"/>
              <a:gd name="T86" fmla="*/ 7636 w 23638"/>
              <a:gd name="T87" fmla="*/ 2249 h 3074"/>
              <a:gd name="T88" fmla="*/ 6643 w 23638"/>
              <a:gd name="T89" fmla="*/ 1043 h 3074"/>
              <a:gd name="T90" fmla="*/ 5608 w 23638"/>
              <a:gd name="T91" fmla="*/ 1570 h 3074"/>
              <a:gd name="T92" fmla="*/ 6941 w 23638"/>
              <a:gd name="T93" fmla="*/ 1560 h 3074"/>
              <a:gd name="T94" fmla="*/ 5662 w 23638"/>
              <a:gd name="T95" fmla="*/ 2155 h 3074"/>
              <a:gd name="T96" fmla="*/ 4917 w 23638"/>
              <a:gd name="T97" fmla="*/ 843 h 3074"/>
              <a:gd name="T98" fmla="*/ 4604 w 23638"/>
              <a:gd name="T99" fmla="*/ 2339 h 3074"/>
              <a:gd name="T100" fmla="*/ 5177 w 23638"/>
              <a:gd name="T101" fmla="*/ 872 h 3074"/>
              <a:gd name="T102" fmla="*/ 3405 w 23638"/>
              <a:gd name="T103" fmla="*/ 2063 h 3074"/>
              <a:gd name="T104" fmla="*/ 4235 w 23638"/>
              <a:gd name="T105" fmla="*/ 969 h 3074"/>
              <a:gd name="T106" fmla="*/ 3103 w 23638"/>
              <a:gd name="T107" fmla="*/ 1585 h 3074"/>
              <a:gd name="T108" fmla="*/ 4229 w 23638"/>
              <a:gd name="T109" fmla="*/ 2124 h 3074"/>
              <a:gd name="T110" fmla="*/ 2715 w 23638"/>
              <a:gd name="T111" fmla="*/ 775 h 3074"/>
              <a:gd name="T112" fmla="*/ 2563 w 23638"/>
              <a:gd name="T113" fmla="*/ 181 h 3074"/>
              <a:gd name="T114" fmla="*/ 2043 w 23638"/>
              <a:gd name="T115" fmla="*/ 2339 h 3074"/>
              <a:gd name="T116" fmla="*/ 1026 w 23638"/>
              <a:gd name="T117" fmla="*/ 2095 h 3074"/>
              <a:gd name="T118" fmla="*/ 0 w 23638"/>
              <a:gd name="T119" fmla="*/ 2339 h 3074"/>
              <a:gd name="T120" fmla="*/ 220 w 23638"/>
              <a:gd name="T121" fmla="*/ 662 h 3074"/>
              <a:gd name="T122" fmla="*/ 1915 w 23638"/>
              <a:gd name="T123" fmla="*/ 462 h 30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638" h="3074">
                <a:moveTo>
                  <a:pt x="23498" y="1686"/>
                </a:moveTo>
                <a:cubicBezTo>
                  <a:pt x="23498" y="1849"/>
                  <a:pt x="23446" y="1983"/>
                  <a:pt x="23343" y="2090"/>
                </a:cubicBezTo>
                <a:cubicBezTo>
                  <a:pt x="23240" y="2196"/>
                  <a:pt x="23108" y="2249"/>
                  <a:pt x="22946" y="2249"/>
                </a:cubicBezTo>
                <a:cubicBezTo>
                  <a:pt x="22784" y="2249"/>
                  <a:pt x="22656" y="2189"/>
                  <a:pt x="22562" y="2067"/>
                </a:cubicBezTo>
                <a:cubicBezTo>
                  <a:pt x="22468" y="1946"/>
                  <a:pt x="22421" y="1781"/>
                  <a:pt x="22421" y="1573"/>
                </a:cubicBezTo>
                <a:cubicBezTo>
                  <a:pt x="22421" y="1362"/>
                  <a:pt x="22473" y="1191"/>
                  <a:pt x="22578" y="1061"/>
                </a:cubicBezTo>
                <a:cubicBezTo>
                  <a:pt x="22683" y="931"/>
                  <a:pt x="22821" y="866"/>
                  <a:pt x="22994" y="866"/>
                </a:cubicBezTo>
                <a:cubicBezTo>
                  <a:pt x="23138" y="866"/>
                  <a:pt x="23258" y="915"/>
                  <a:pt x="23354" y="1014"/>
                </a:cubicBezTo>
                <a:cubicBezTo>
                  <a:pt x="23450" y="1112"/>
                  <a:pt x="23498" y="1233"/>
                  <a:pt x="23498" y="1376"/>
                </a:cubicBezTo>
                <a:lnTo>
                  <a:pt x="23498" y="1686"/>
                </a:lnTo>
                <a:close/>
                <a:moveTo>
                  <a:pt x="23638" y="775"/>
                </a:moveTo>
                <a:cubicBezTo>
                  <a:pt x="23498" y="775"/>
                  <a:pt x="23498" y="775"/>
                  <a:pt x="23498" y="775"/>
                </a:cubicBezTo>
                <a:cubicBezTo>
                  <a:pt x="23498" y="1023"/>
                  <a:pt x="23498" y="1023"/>
                  <a:pt x="23498" y="1023"/>
                </a:cubicBezTo>
                <a:cubicBezTo>
                  <a:pt x="23491" y="1023"/>
                  <a:pt x="23491" y="1023"/>
                  <a:pt x="23491" y="1023"/>
                </a:cubicBezTo>
                <a:cubicBezTo>
                  <a:pt x="23388" y="832"/>
                  <a:pt x="23221" y="737"/>
                  <a:pt x="22990" y="737"/>
                </a:cubicBezTo>
                <a:cubicBezTo>
                  <a:pt x="22852" y="737"/>
                  <a:pt x="22728" y="773"/>
                  <a:pt x="22618" y="845"/>
                </a:cubicBezTo>
                <a:cubicBezTo>
                  <a:pt x="22508" y="917"/>
                  <a:pt x="22423" y="1017"/>
                  <a:pt x="22364" y="1147"/>
                </a:cubicBezTo>
                <a:cubicBezTo>
                  <a:pt x="22304" y="1276"/>
                  <a:pt x="22274" y="1422"/>
                  <a:pt x="22274" y="1585"/>
                </a:cubicBezTo>
                <a:cubicBezTo>
                  <a:pt x="22274" y="1828"/>
                  <a:pt x="22334" y="2021"/>
                  <a:pt x="22453" y="2164"/>
                </a:cubicBezTo>
                <a:cubicBezTo>
                  <a:pt x="22572" y="2306"/>
                  <a:pt x="22730" y="2377"/>
                  <a:pt x="22928" y="2377"/>
                </a:cubicBezTo>
                <a:cubicBezTo>
                  <a:pt x="23179" y="2377"/>
                  <a:pt x="23367" y="2271"/>
                  <a:pt x="23491" y="2058"/>
                </a:cubicBezTo>
                <a:cubicBezTo>
                  <a:pt x="23498" y="2058"/>
                  <a:pt x="23498" y="2058"/>
                  <a:pt x="23498" y="2058"/>
                </a:cubicBezTo>
                <a:cubicBezTo>
                  <a:pt x="23498" y="2261"/>
                  <a:pt x="23498" y="2261"/>
                  <a:pt x="23498" y="2261"/>
                </a:cubicBezTo>
                <a:cubicBezTo>
                  <a:pt x="23498" y="2718"/>
                  <a:pt x="23282" y="2946"/>
                  <a:pt x="22850" y="2946"/>
                </a:cubicBezTo>
                <a:cubicBezTo>
                  <a:pt x="22702" y="2946"/>
                  <a:pt x="22546" y="2900"/>
                  <a:pt x="22381" y="2808"/>
                </a:cubicBezTo>
                <a:cubicBezTo>
                  <a:pt x="22381" y="2955"/>
                  <a:pt x="22381" y="2955"/>
                  <a:pt x="22381" y="2955"/>
                </a:cubicBezTo>
                <a:cubicBezTo>
                  <a:pt x="22541" y="3034"/>
                  <a:pt x="22696" y="3074"/>
                  <a:pt x="22847" y="3074"/>
                </a:cubicBezTo>
                <a:cubicBezTo>
                  <a:pt x="23121" y="3074"/>
                  <a:pt x="23321" y="3005"/>
                  <a:pt x="23448" y="2868"/>
                </a:cubicBezTo>
                <a:cubicBezTo>
                  <a:pt x="23575" y="2730"/>
                  <a:pt x="23638" y="2515"/>
                  <a:pt x="23638" y="2223"/>
                </a:cubicBezTo>
                <a:lnTo>
                  <a:pt x="23638" y="775"/>
                </a:lnTo>
                <a:close/>
                <a:moveTo>
                  <a:pt x="21917" y="2339"/>
                </a:moveTo>
                <a:cubicBezTo>
                  <a:pt x="21917" y="1388"/>
                  <a:pt x="21917" y="1388"/>
                  <a:pt x="21917" y="1388"/>
                </a:cubicBezTo>
                <a:cubicBezTo>
                  <a:pt x="21917" y="1178"/>
                  <a:pt x="21872" y="1017"/>
                  <a:pt x="21783" y="905"/>
                </a:cubicBezTo>
                <a:cubicBezTo>
                  <a:pt x="21694" y="793"/>
                  <a:pt x="21565" y="737"/>
                  <a:pt x="21394" y="737"/>
                </a:cubicBezTo>
                <a:cubicBezTo>
                  <a:pt x="21152" y="737"/>
                  <a:pt x="20974" y="845"/>
                  <a:pt x="20860" y="1060"/>
                </a:cubicBezTo>
                <a:cubicBezTo>
                  <a:pt x="20854" y="1060"/>
                  <a:pt x="20854" y="1060"/>
                  <a:pt x="20854" y="1060"/>
                </a:cubicBezTo>
                <a:cubicBezTo>
                  <a:pt x="20854" y="775"/>
                  <a:pt x="20854" y="775"/>
                  <a:pt x="20854" y="775"/>
                </a:cubicBezTo>
                <a:cubicBezTo>
                  <a:pt x="20713" y="775"/>
                  <a:pt x="20713" y="775"/>
                  <a:pt x="20713" y="775"/>
                </a:cubicBezTo>
                <a:cubicBezTo>
                  <a:pt x="20713" y="2339"/>
                  <a:pt x="20713" y="2339"/>
                  <a:pt x="20713" y="2339"/>
                </a:cubicBezTo>
                <a:cubicBezTo>
                  <a:pt x="20854" y="2339"/>
                  <a:pt x="20854" y="2339"/>
                  <a:pt x="20854" y="2339"/>
                </a:cubicBezTo>
                <a:cubicBezTo>
                  <a:pt x="20854" y="1441"/>
                  <a:pt x="20854" y="1441"/>
                  <a:pt x="20854" y="1441"/>
                </a:cubicBezTo>
                <a:cubicBezTo>
                  <a:pt x="20854" y="1277"/>
                  <a:pt x="20903" y="1140"/>
                  <a:pt x="21001" y="1030"/>
                </a:cubicBezTo>
                <a:cubicBezTo>
                  <a:pt x="21098" y="921"/>
                  <a:pt x="21221" y="866"/>
                  <a:pt x="21370" y="866"/>
                </a:cubicBezTo>
                <a:cubicBezTo>
                  <a:pt x="21641" y="866"/>
                  <a:pt x="21776" y="1053"/>
                  <a:pt x="21776" y="1429"/>
                </a:cubicBezTo>
                <a:cubicBezTo>
                  <a:pt x="21776" y="2339"/>
                  <a:pt x="21776" y="2339"/>
                  <a:pt x="21776" y="2339"/>
                </a:cubicBezTo>
                <a:lnTo>
                  <a:pt x="21917" y="2339"/>
                </a:lnTo>
                <a:close/>
                <a:moveTo>
                  <a:pt x="20212" y="775"/>
                </a:moveTo>
                <a:cubicBezTo>
                  <a:pt x="20072" y="775"/>
                  <a:pt x="20072" y="775"/>
                  <a:pt x="20072" y="775"/>
                </a:cubicBezTo>
                <a:cubicBezTo>
                  <a:pt x="20072" y="2339"/>
                  <a:pt x="20072" y="2339"/>
                  <a:pt x="20072" y="2339"/>
                </a:cubicBezTo>
                <a:cubicBezTo>
                  <a:pt x="20212" y="2339"/>
                  <a:pt x="20212" y="2339"/>
                  <a:pt x="20212" y="2339"/>
                </a:cubicBezTo>
                <a:lnTo>
                  <a:pt x="20212" y="775"/>
                </a:lnTo>
                <a:close/>
                <a:moveTo>
                  <a:pt x="20225" y="346"/>
                </a:moveTo>
                <a:cubicBezTo>
                  <a:pt x="20248" y="323"/>
                  <a:pt x="20260" y="295"/>
                  <a:pt x="20260" y="262"/>
                </a:cubicBezTo>
                <a:cubicBezTo>
                  <a:pt x="20260" y="228"/>
                  <a:pt x="20248" y="200"/>
                  <a:pt x="20224" y="180"/>
                </a:cubicBezTo>
                <a:cubicBezTo>
                  <a:pt x="20200" y="159"/>
                  <a:pt x="20172" y="149"/>
                  <a:pt x="20141" y="149"/>
                </a:cubicBezTo>
                <a:cubicBezTo>
                  <a:pt x="20111" y="149"/>
                  <a:pt x="20084" y="160"/>
                  <a:pt x="20061" y="181"/>
                </a:cubicBezTo>
                <a:cubicBezTo>
                  <a:pt x="20037" y="201"/>
                  <a:pt x="20025" y="229"/>
                  <a:pt x="20025" y="262"/>
                </a:cubicBezTo>
                <a:cubicBezTo>
                  <a:pt x="20025" y="297"/>
                  <a:pt x="20036" y="325"/>
                  <a:pt x="20060" y="348"/>
                </a:cubicBezTo>
                <a:cubicBezTo>
                  <a:pt x="20083" y="370"/>
                  <a:pt x="20110" y="381"/>
                  <a:pt x="20141" y="381"/>
                </a:cubicBezTo>
                <a:cubicBezTo>
                  <a:pt x="20173" y="381"/>
                  <a:pt x="20201" y="370"/>
                  <a:pt x="20225" y="346"/>
                </a:cubicBezTo>
                <a:moveTo>
                  <a:pt x="19602" y="2339"/>
                </a:moveTo>
                <a:cubicBezTo>
                  <a:pt x="19602" y="1388"/>
                  <a:pt x="19602" y="1388"/>
                  <a:pt x="19602" y="1388"/>
                </a:cubicBezTo>
                <a:cubicBezTo>
                  <a:pt x="19602" y="1178"/>
                  <a:pt x="19557" y="1017"/>
                  <a:pt x="19468" y="905"/>
                </a:cubicBezTo>
                <a:cubicBezTo>
                  <a:pt x="19379" y="793"/>
                  <a:pt x="19249" y="737"/>
                  <a:pt x="19079" y="737"/>
                </a:cubicBezTo>
                <a:cubicBezTo>
                  <a:pt x="18837" y="737"/>
                  <a:pt x="18659" y="845"/>
                  <a:pt x="18545" y="1060"/>
                </a:cubicBezTo>
                <a:cubicBezTo>
                  <a:pt x="18539" y="1060"/>
                  <a:pt x="18539" y="1060"/>
                  <a:pt x="18539" y="1060"/>
                </a:cubicBezTo>
                <a:cubicBezTo>
                  <a:pt x="18539" y="775"/>
                  <a:pt x="18539" y="775"/>
                  <a:pt x="18539" y="775"/>
                </a:cubicBezTo>
                <a:cubicBezTo>
                  <a:pt x="18398" y="775"/>
                  <a:pt x="18398" y="775"/>
                  <a:pt x="18398" y="775"/>
                </a:cubicBezTo>
                <a:cubicBezTo>
                  <a:pt x="18398" y="2339"/>
                  <a:pt x="18398" y="2339"/>
                  <a:pt x="18398" y="2339"/>
                </a:cubicBezTo>
                <a:cubicBezTo>
                  <a:pt x="18539" y="2339"/>
                  <a:pt x="18539" y="2339"/>
                  <a:pt x="18539" y="2339"/>
                </a:cubicBezTo>
                <a:cubicBezTo>
                  <a:pt x="18539" y="1441"/>
                  <a:pt x="18539" y="1441"/>
                  <a:pt x="18539" y="1441"/>
                </a:cubicBezTo>
                <a:cubicBezTo>
                  <a:pt x="18539" y="1277"/>
                  <a:pt x="18587" y="1140"/>
                  <a:pt x="18685" y="1030"/>
                </a:cubicBezTo>
                <a:cubicBezTo>
                  <a:pt x="18783" y="921"/>
                  <a:pt x="18906" y="866"/>
                  <a:pt x="19055" y="866"/>
                </a:cubicBezTo>
                <a:cubicBezTo>
                  <a:pt x="19326" y="866"/>
                  <a:pt x="19461" y="1053"/>
                  <a:pt x="19461" y="1429"/>
                </a:cubicBezTo>
                <a:cubicBezTo>
                  <a:pt x="19461" y="2339"/>
                  <a:pt x="19461" y="2339"/>
                  <a:pt x="19461" y="2339"/>
                </a:cubicBezTo>
                <a:lnTo>
                  <a:pt x="19602" y="2339"/>
                </a:lnTo>
                <a:close/>
                <a:moveTo>
                  <a:pt x="18113" y="772"/>
                </a:moveTo>
                <a:cubicBezTo>
                  <a:pt x="18067" y="754"/>
                  <a:pt x="18015" y="745"/>
                  <a:pt x="17957" y="745"/>
                </a:cubicBezTo>
                <a:cubicBezTo>
                  <a:pt x="17855" y="745"/>
                  <a:pt x="17765" y="778"/>
                  <a:pt x="17688" y="843"/>
                </a:cubicBezTo>
                <a:cubicBezTo>
                  <a:pt x="17611" y="909"/>
                  <a:pt x="17554" y="1002"/>
                  <a:pt x="17518" y="1122"/>
                </a:cubicBezTo>
                <a:cubicBezTo>
                  <a:pt x="17512" y="1122"/>
                  <a:pt x="17512" y="1122"/>
                  <a:pt x="17512" y="1122"/>
                </a:cubicBezTo>
                <a:cubicBezTo>
                  <a:pt x="17512" y="775"/>
                  <a:pt x="17512" y="775"/>
                  <a:pt x="17512" y="775"/>
                </a:cubicBezTo>
                <a:cubicBezTo>
                  <a:pt x="17375" y="775"/>
                  <a:pt x="17375" y="775"/>
                  <a:pt x="17375" y="775"/>
                </a:cubicBezTo>
                <a:cubicBezTo>
                  <a:pt x="17375" y="2339"/>
                  <a:pt x="17375" y="2339"/>
                  <a:pt x="17375" y="2339"/>
                </a:cubicBezTo>
                <a:cubicBezTo>
                  <a:pt x="17512" y="2339"/>
                  <a:pt x="17512" y="2339"/>
                  <a:pt x="17512" y="2339"/>
                </a:cubicBezTo>
                <a:cubicBezTo>
                  <a:pt x="17512" y="1605"/>
                  <a:pt x="17512" y="1605"/>
                  <a:pt x="17512" y="1605"/>
                </a:cubicBezTo>
                <a:cubicBezTo>
                  <a:pt x="17512" y="1458"/>
                  <a:pt x="17531" y="1329"/>
                  <a:pt x="17568" y="1217"/>
                </a:cubicBezTo>
                <a:cubicBezTo>
                  <a:pt x="17605" y="1105"/>
                  <a:pt x="17657" y="1019"/>
                  <a:pt x="17723" y="960"/>
                </a:cubicBezTo>
                <a:cubicBezTo>
                  <a:pt x="17789" y="901"/>
                  <a:pt x="17864" y="872"/>
                  <a:pt x="17948" y="872"/>
                </a:cubicBezTo>
                <a:cubicBezTo>
                  <a:pt x="18010" y="872"/>
                  <a:pt x="18065" y="888"/>
                  <a:pt x="18113" y="922"/>
                </a:cubicBezTo>
                <a:lnTo>
                  <a:pt x="18113" y="772"/>
                </a:lnTo>
                <a:close/>
                <a:moveTo>
                  <a:pt x="15980" y="1680"/>
                </a:moveTo>
                <a:cubicBezTo>
                  <a:pt x="16042" y="1627"/>
                  <a:pt x="16159" y="1587"/>
                  <a:pt x="16333" y="1560"/>
                </a:cubicBezTo>
                <a:cubicBezTo>
                  <a:pt x="16764" y="1498"/>
                  <a:pt x="16764" y="1498"/>
                  <a:pt x="16764" y="1498"/>
                </a:cubicBezTo>
                <a:cubicBezTo>
                  <a:pt x="16764" y="1651"/>
                  <a:pt x="16764" y="1651"/>
                  <a:pt x="16764" y="1651"/>
                </a:cubicBezTo>
                <a:cubicBezTo>
                  <a:pt x="16764" y="1825"/>
                  <a:pt x="16714" y="1968"/>
                  <a:pt x="16615" y="2080"/>
                </a:cubicBezTo>
                <a:cubicBezTo>
                  <a:pt x="16516" y="2193"/>
                  <a:pt x="16390" y="2249"/>
                  <a:pt x="16239" y="2249"/>
                </a:cubicBezTo>
                <a:cubicBezTo>
                  <a:pt x="16132" y="2249"/>
                  <a:pt x="16047" y="2220"/>
                  <a:pt x="15984" y="2163"/>
                </a:cubicBezTo>
                <a:cubicBezTo>
                  <a:pt x="15920" y="2105"/>
                  <a:pt x="15889" y="2028"/>
                  <a:pt x="15889" y="1930"/>
                </a:cubicBezTo>
                <a:cubicBezTo>
                  <a:pt x="15889" y="1817"/>
                  <a:pt x="15920" y="1734"/>
                  <a:pt x="15980" y="1680"/>
                </a:cubicBezTo>
                <a:moveTo>
                  <a:pt x="16904" y="2339"/>
                </a:moveTo>
                <a:cubicBezTo>
                  <a:pt x="16904" y="1322"/>
                  <a:pt x="16904" y="1322"/>
                  <a:pt x="16904" y="1322"/>
                </a:cubicBezTo>
                <a:cubicBezTo>
                  <a:pt x="16904" y="1131"/>
                  <a:pt x="16861" y="985"/>
                  <a:pt x="16773" y="886"/>
                </a:cubicBezTo>
                <a:cubicBezTo>
                  <a:pt x="16686" y="787"/>
                  <a:pt x="16561" y="737"/>
                  <a:pt x="16399" y="737"/>
                </a:cubicBezTo>
                <a:cubicBezTo>
                  <a:pt x="16316" y="737"/>
                  <a:pt x="16224" y="754"/>
                  <a:pt x="16122" y="787"/>
                </a:cubicBezTo>
                <a:cubicBezTo>
                  <a:pt x="16019" y="820"/>
                  <a:pt x="15940" y="859"/>
                  <a:pt x="15883" y="904"/>
                </a:cubicBezTo>
                <a:cubicBezTo>
                  <a:pt x="15883" y="1073"/>
                  <a:pt x="15883" y="1073"/>
                  <a:pt x="15883" y="1073"/>
                </a:cubicBezTo>
                <a:cubicBezTo>
                  <a:pt x="16046" y="935"/>
                  <a:pt x="16213" y="866"/>
                  <a:pt x="16385" y="866"/>
                </a:cubicBezTo>
                <a:cubicBezTo>
                  <a:pt x="16638" y="866"/>
                  <a:pt x="16764" y="1034"/>
                  <a:pt x="16764" y="1370"/>
                </a:cubicBezTo>
                <a:cubicBezTo>
                  <a:pt x="16283" y="1441"/>
                  <a:pt x="16283" y="1441"/>
                  <a:pt x="16283" y="1441"/>
                </a:cubicBezTo>
                <a:cubicBezTo>
                  <a:pt x="15921" y="1497"/>
                  <a:pt x="15741" y="1662"/>
                  <a:pt x="15741" y="1936"/>
                </a:cubicBezTo>
                <a:cubicBezTo>
                  <a:pt x="15741" y="2067"/>
                  <a:pt x="15785" y="2174"/>
                  <a:pt x="15874" y="2255"/>
                </a:cubicBezTo>
                <a:cubicBezTo>
                  <a:pt x="15963" y="2337"/>
                  <a:pt x="16080" y="2377"/>
                  <a:pt x="16223" y="2377"/>
                </a:cubicBezTo>
                <a:cubicBezTo>
                  <a:pt x="16337" y="2377"/>
                  <a:pt x="16442" y="2346"/>
                  <a:pt x="16539" y="2282"/>
                </a:cubicBezTo>
                <a:cubicBezTo>
                  <a:pt x="16635" y="2218"/>
                  <a:pt x="16708" y="2133"/>
                  <a:pt x="16758" y="2026"/>
                </a:cubicBezTo>
                <a:cubicBezTo>
                  <a:pt x="16764" y="2026"/>
                  <a:pt x="16764" y="2026"/>
                  <a:pt x="16764" y="2026"/>
                </a:cubicBezTo>
                <a:cubicBezTo>
                  <a:pt x="16764" y="2339"/>
                  <a:pt x="16764" y="2339"/>
                  <a:pt x="16764" y="2339"/>
                </a:cubicBezTo>
                <a:lnTo>
                  <a:pt x="16904" y="2339"/>
                </a:lnTo>
                <a:close/>
                <a:moveTo>
                  <a:pt x="14290" y="1435"/>
                </a:moveTo>
                <a:cubicBezTo>
                  <a:pt x="14312" y="1253"/>
                  <a:pt x="14371" y="1112"/>
                  <a:pt x="14467" y="1014"/>
                </a:cubicBezTo>
                <a:cubicBezTo>
                  <a:pt x="14563" y="915"/>
                  <a:pt x="14684" y="866"/>
                  <a:pt x="14832" y="866"/>
                </a:cubicBezTo>
                <a:cubicBezTo>
                  <a:pt x="14973" y="866"/>
                  <a:pt x="15083" y="915"/>
                  <a:pt x="15164" y="1014"/>
                </a:cubicBezTo>
                <a:cubicBezTo>
                  <a:pt x="15245" y="1114"/>
                  <a:pt x="15289" y="1254"/>
                  <a:pt x="15295" y="1435"/>
                </a:cubicBezTo>
                <a:lnTo>
                  <a:pt x="14290" y="1435"/>
                </a:lnTo>
                <a:close/>
                <a:moveTo>
                  <a:pt x="15441" y="1563"/>
                </a:moveTo>
                <a:cubicBezTo>
                  <a:pt x="15441" y="1501"/>
                  <a:pt x="15441" y="1501"/>
                  <a:pt x="15441" y="1501"/>
                </a:cubicBezTo>
                <a:cubicBezTo>
                  <a:pt x="15441" y="1261"/>
                  <a:pt x="15388" y="1073"/>
                  <a:pt x="15283" y="939"/>
                </a:cubicBezTo>
                <a:cubicBezTo>
                  <a:pt x="15177" y="804"/>
                  <a:pt x="15028" y="737"/>
                  <a:pt x="14838" y="737"/>
                </a:cubicBezTo>
                <a:cubicBezTo>
                  <a:pt x="14707" y="737"/>
                  <a:pt x="14587" y="772"/>
                  <a:pt x="14480" y="843"/>
                </a:cubicBezTo>
                <a:cubicBezTo>
                  <a:pt x="14373" y="913"/>
                  <a:pt x="14289" y="1010"/>
                  <a:pt x="14228" y="1135"/>
                </a:cubicBezTo>
                <a:cubicBezTo>
                  <a:pt x="14167" y="1260"/>
                  <a:pt x="14137" y="1398"/>
                  <a:pt x="14137" y="1548"/>
                </a:cubicBezTo>
                <a:cubicBezTo>
                  <a:pt x="14137" y="1805"/>
                  <a:pt x="14198" y="2007"/>
                  <a:pt x="14320" y="2155"/>
                </a:cubicBezTo>
                <a:cubicBezTo>
                  <a:pt x="14443" y="2303"/>
                  <a:pt x="14606" y="2377"/>
                  <a:pt x="14812" y="2377"/>
                </a:cubicBezTo>
                <a:cubicBezTo>
                  <a:pt x="15011" y="2377"/>
                  <a:pt x="15192" y="2320"/>
                  <a:pt x="15354" y="2205"/>
                </a:cubicBezTo>
                <a:cubicBezTo>
                  <a:pt x="15354" y="2055"/>
                  <a:pt x="15354" y="2055"/>
                  <a:pt x="15354" y="2055"/>
                </a:cubicBezTo>
                <a:cubicBezTo>
                  <a:pt x="15188" y="2185"/>
                  <a:pt x="15017" y="2249"/>
                  <a:pt x="14841" y="2249"/>
                </a:cubicBezTo>
                <a:cubicBezTo>
                  <a:pt x="14669" y="2249"/>
                  <a:pt x="14533" y="2189"/>
                  <a:pt x="14433" y="2069"/>
                </a:cubicBezTo>
                <a:cubicBezTo>
                  <a:pt x="14334" y="1949"/>
                  <a:pt x="14284" y="1780"/>
                  <a:pt x="14284" y="1563"/>
                </a:cubicBezTo>
                <a:lnTo>
                  <a:pt x="15441" y="1563"/>
                </a:lnTo>
                <a:close/>
                <a:moveTo>
                  <a:pt x="13878" y="2339"/>
                </a:moveTo>
                <a:cubicBezTo>
                  <a:pt x="13878" y="2202"/>
                  <a:pt x="13878" y="2202"/>
                  <a:pt x="13878" y="2202"/>
                </a:cubicBezTo>
                <a:cubicBezTo>
                  <a:pt x="12999" y="2202"/>
                  <a:pt x="12999" y="2202"/>
                  <a:pt x="12999" y="2202"/>
                </a:cubicBezTo>
                <a:cubicBezTo>
                  <a:pt x="12999" y="149"/>
                  <a:pt x="12999" y="149"/>
                  <a:pt x="12999" y="149"/>
                </a:cubicBezTo>
                <a:cubicBezTo>
                  <a:pt x="12848" y="149"/>
                  <a:pt x="12848" y="149"/>
                  <a:pt x="12848" y="149"/>
                </a:cubicBezTo>
                <a:cubicBezTo>
                  <a:pt x="12848" y="2339"/>
                  <a:pt x="12848" y="2339"/>
                  <a:pt x="12848" y="2339"/>
                </a:cubicBezTo>
                <a:lnTo>
                  <a:pt x="13878" y="2339"/>
                </a:lnTo>
                <a:close/>
                <a:moveTo>
                  <a:pt x="11779" y="2187"/>
                </a:moveTo>
                <a:cubicBezTo>
                  <a:pt x="11713" y="2224"/>
                  <a:pt x="11650" y="2243"/>
                  <a:pt x="11591" y="2243"/>
                </a:cubicBezTo>
                <a:cubicBezTo>
                  <a:pt x="11510" y="2243"/>
                  <a:pt x="11452" y="2219"/>
                  <a:pt x="11418" y="2171"/>
                </a:cubicBezTo>
                <a:cubicBezTo>
                  <a:pt x="11384" y="2122"/>
                  <a:pt x="11367" y="2044"/>
                  <a:pt x="11367" y="1936"/>
                </a:cubicBezTo>
                <a:cubicBezTo>
                  <a:pt x="11367" y="904"/>
                  <a:pt x="11367" y="904"/>
                  <a:pt x="11367" y="904"/>
                </a:cubicBezTo>
                <a:cubicBezTo>
                  <a:pt x="11779" y="904"/>
                  <a:pt x="11779" y="904"/>
                  <a:pt x="11779" y="904"/>
                </a:cubicBezTo>
                <a:cubicBezTo>
                  <a:pt x="11779" y="775"/>
                  <a:pt x="11779" y="775"/>
                  <a:pt x="11779" y="775"/>
                </a:cubicBezTo>
                <a:cubicBezTo>
                  <a:pt x="11367" y="775"/>
                  <a:pt x="11367" y="775"/>
                  <a:pt x="11367" y="775"/>
                </a:cubicBezTo>
                <a:cubicBezTo>
                  <a:pt x="11367" y="322"/>
                  <a:pt x="11367" y="322"/>
                  <a:pt x="11367" y="322"/>
                </a:cubicBezTo>
                <a:cubicBezTo>
                  <a:pt x="11226" y="369"/>
                  <a:pt x="11226" y="369"/>
                  <a:pt x="11226" y="369"/>
                </a:cubicBezTo>
                <a:cubicBezTo>
                  <a:pt x="11226" y="775"/>
                  <a:pt x="11226" y="775"/>
                  <a:pt x="11226" y="775"/>
                </a:cubicBezTo>
                <a:cubicBezTo>
                  <a:pt x="10945" y="775"/>
                  <a:pt x="10945" y="775"/>
                  <a:pt x="10945" y="775"/>
                </a:cubicBezTo>
                <a:cubicBezTo>
                  <a:pt x="10945" y="904"/>
                  <a:pt x="10945" y="904"/>
                  <a:pt x="10945" y="904"/>
                </a:cubicBezTo>
                <a:cubicBezTo>
                  <a:pt x="11226" y="904"/>
                  <a:pt x="11226" y="904"/>
                  <a:pt x="11226" y="904"/>
                </a:cubicBezTo>
                <a:cubicBezTo>
                  <a:pt x="11226" y="1954"/>
                  <a:pt x="11226" y="1954"/>
                  <a:pt x="11226" y="1954"/>
                </a:cubicBezTo>
                <a:cubicBezTo>
                  <a:pt x="11226" y="2231"/>
                  <a:pt x="11342" y="2370"/>
                  <a:pt x="11573" y="2370"/>
                </a:cubicBezTo>
                <a:cubicBezTo>
                  <a:pt x="11638" y="2370"/>
                  <a:pt x="11707" y="2353"/>
                  <a:pt x="11779" y="2318"/>
                </a:cubicBezTo>
                <a:lnTo>
                  <a:pt x="11779" y="2187"/>
                </a:lnTo>
                <a:close/>
                <a:moveTo>
                  <a:pt x="10898" y="29"/>
                </a:moveTo>
                <a:cubicBezTo>
                  <a:pt x="10855" y="9"/>
                  <a:pt x="10800" y="0"/>
                  <a:pt x="10733" y="0"/>
                </a:cubicBezTo>
                <a:cubicBezTo>
                  <a:pt x="10603" y="0"/>
                  <a:pt x="10498" y="44"/>
                  <a:pt x="10418" y="133"/>
                </a:cubicBezTo>
                <a:cubicBezTo>
                  <a:pt x="10338" y="222"/>
                  <a:pt x="10298" y="346"/>
                  <a:pt x="10298" y="504"/>
                </a:cubicBezTo>
                <a:cubicBezTo>
                  <a:pt x="10298" y="775"/>
                  <a:pt x="10298" y="775"/>
                  <a:pt x="10298" y="775"/>
                </a:cubicBezTo>
                <a:cubicBezTo>
                  <a:pt x="10017" y="775"/>
                  <a:pt x="10017" y="775"/>
                  <a:pt x="10017" y="775"/>
                </a:cubicBezTo>
                <a:cubicBezTo>
                  <a:pt x="10017" y="904"/>
                  <a:pt x="10017" y="904"/>
                  <a:pt x="10017" y="904"/>
                </a:cubicBezTo>
                <a:cubicBezTo>
                  <a:pt x="10298" y="904"/>
                  <a:pt x="10298" y="904"/>
                  <a:pt x="10298" y="904"/>
                </a:cubicBezTo>
                <a:cubicBezTo>
                  <a:pt x="10298" y="2339"/>
                  <a:pt x="10298" y="2339"/>
                  <a:pt x="10298" y="2339"/>
                </a:cubicBezTo>
                <a:cubicBezTo>
                  <a:pt x="10438" y="2339"/>
                  <a:pt x="10438" y="2339"/>
                  <a:pt x="10438" y="2339"/>
                </a:cubicBezTo>
                <a:cubicBezTo>
                  <a:pt x="10438" y="904"/>
                  <a:pt x="10438" y="904"/>
                  <a:pt x="10438" y="904"/>
                </a:cubicBezTo>
                <a:cubicBezTo>
                  <a:pt x="10852" y="904"/>
                  <a:pt x="10852" y="904"/>
                  <a:pt x="10852" y="904"/>
                </a:cubicBezTo>
                <a:cubicBezTo>
                  <a:pt x="10852" y="775"/>
                  <a:pt x="10852" y="775"/>
                  <a:pt x="10852" y="775"/>
                </a:cubicBezTo>
                <a:cubicBezTo>
                  <a:pt x="10438" y="775"/>
                  <a:pt x="10438" y="775"/>
                  <a:pt x="10438" y="775"/>
                </a:cubicBezTo>
                <a:cubicBezTo>
                  <a:pt x="10438" y="516"/>
                  <a:pt x="10438" y="516"/>
                  <a:pt x="10438" y="516"/>
                </a:cubicBezTo>
                <a:cubicBezTo>
                  <a:pt x="10438" y="257"/>
                  <a:pt x="10534" y="128"/>
                  <a:pt x="10727" y="128"/>
                </a:cubicBezTo>
                <a:cubicBezTo>
                  <a:pt x="10802" y="128"/>
                  <a:pt x="10859" y="143"/>
                  <a:pt x="10898" y="172"/>
                </a:cubicBezTo>
                <a:lnTo>
                  <a:pt x="10898" y="29"/>
                </a:lnTo>
                <a:close/>
                <a:moveTo>
                  <a:pt x="9612" y="1043"/>
                </a:moveTo>
                <a:cubicBezTo>
                  <a:pt x="9713" y="1162"/>
                  <a:pt x="9763" y="1333"/>
                  <a:pt x="9763" y="1557"/>
                </a:cubicBezTo>
                <a:cubicBezTo>
                  <a:pt x="9763" y="1774"/>
                  <a:pt x="9712" y="1944"/>
                  <a:pt x="9609" y="2066"/>
                </a:cubicBezTo>
                <a:cubicBezTo>
                  <a:pt x="9506" y="2188"/>
                  <a:pt x="9362" y="2249"/>
                  <a:pt x="9175" y="2249"/>
                </a:cubicBezTo>
                <a:cubicBezTo>
                  <a:pt x="8993" y="2249"/>
                  <a:pt x="8848" y="2188"/>
                  <a:pt x="8739" y="2064"/>
                </a:cubicBezTo>
                <a:cubicBezTo>
                  <a:pt x="8631" y="1941"/>
                  <a:pt x="8577" y="1776"/>
                  <a:pt x="8577" y="1570"/>
                </a:cubicBezTo>
                <a:cubicBezTo>
                  <a:pt x="8577" y="1350"/>
                  <a:pt x="8631" y="1177"/>
                  <a:pt x="8741" y="1053"/>
                </a:cubicBezTo>
                <a:cubicBezTo>
                  <a:pt x="8850" y="928"/>
                  <a:pt x="8997" y="866"/>
                  <a:pt x="9181" y="866"/>
                </a:cubicBezTo>
                <a:cubicBezTo>
                  <a:pt x="9368" y="866"/>
                  <a:pt x="9511" y="925"/>
                  <a:pt x="9612" y="1043"/>
                </a:cubicBezTo>
                <a:moveTo>
                  <a:pt x="9708" y="2152"/>
                </a:moveTo>
                <a:cubicBezTo>
                  <a:pt x="9843" y="2002"/>
                  <a:pt x="9910" y="1805"/>
                  <a:pt x="9910" y="1560"/>
                </a:cubicBezTo>
                <a:cubicBezTo>
                  <a:pt x="9910" y="1305"/>
                  <a:pt x="9845" y="1104"/>
                  <a:pt x="9716" y="957"/>
                </a:cubicBezTo>
                <a:cubicBezTo>
                  <a:pt x="9587" y="811"/>
                  <a:pt x="9410" y="737"/>
                  <a:pt x="9187" y="737"/>
                </a:cubicBezTo>
                <a:cubicBezTo>
                  <a:pt x="8956" y="737"/>
                  <a:pt x="8772" y="812"/>
                  <a:pt x="8635" y="960"/>
                </a:cubicBezTo>
                <a:cubicBezTo>
                  <a:pt x="8498" y="1109"/>
                  <a:pt x="8430" y="1311"/>
                  <a:pt x="8430" y="1567"/>
                </a:cubicBezTo>
                <a:cubicBezTo>
                  <a:pt x="8430" y="1810"/>
                  <a:pt x="8497" y="2006"/>
                  <a:pt x="8631" y="2155"/>
                </a:cubicBezTo>
                <a:cubicBezTo>
                  <a:pt x="8765" y="2303"/>
                  <a:pt x="8945" y="2377"/>
                  <a:pt x="9171" y="2377"/>
                </a:cubicBezTo>
                <a:cubicBezTo>
                  <a:pt x="9395" y="2377"/>
                  <a:pt x="9574" y="2302"/>
                  <a:pt x="9708" y="2152"/>
                </a:cubicBezTo>
                <a:moveTo>
                  <a:pt x="7625" y="2377"/>
                </a:moveTo>
                <a:cubicBezTo>
                  <a:pt x="7784" y="2377"/>
                  <a:pt x="7911" y="2338"/>
                  <a:pt x="8007" y="2259"/>
                </a:cubicBezTo>
                <a:cubicBezTo>
                  <a:pt x="8103" y="2180"/>
                  <a:pt x="8150" y="2077"/>
                  <a:pt x="8150" y="1948"/>
                </a:cubicBezTo>
                <a:cubicBezTo>
                  <a:pt x="8150" y="1847"/>
                  <a:pt x="8121" y="1764"/>
                  <a:pt x="8062" y="1701"/>
                </a:cubicBezTo>
                <a:cubicBezTo>
                  <a:pt x="8003" y="1638"/>
                  <a:pt x="7890" y="1569"/>
                  <a:pt x="7723" y="1495"/>
                </a:cubicBezTo>
                <a:cubicBezTo>
                  <a:pt x="7636" y="1457"/>
                  <a:pt x="7570" y="1423"/>
                  <a:pt x="7525" y="1392"/>
                </a:cubicBezTo>
                <a:cubicBezTo>
                  <a:pt x="7480" y="1361"/>
                  <a:pt x="7448" y="1328"/>
                  <a:pt x="7429" y="1295"/>
                </a:cubicBezTo>
                <a:cubicBezTo>
                  <a:pt x="7410" y="1261"/>
                  <a:pt x="7401" y="1214"/>
                  <a:pt x="7401" y="1154"/>
                </a:cubicBezTo>
                <a:cubicBezTo>
                  <a:pt x="7401" y="1070"/>
                  <a:pt x="7432" y="1000"/>
                  <a:pt x="7496" y="946"/>
                </a:cubicBezTo>
                <a:cubicBezTo>
                  <a:pt x="7560" y="893"/>
                  <a:pt x="7642" y="866"/>
                  <a:pt x="7744" y="866"/>
                </a:cubicBezTo>
                <a:cubicBezTo>
                  <a:pt x="7867" y="866"/>
                  <a:pt x="7988" y="903"/>
                  <a:pt x="8105" y="979"/>
                </a:cubicBezTo>
                <a:cubicBezTo>
                  <a:pt x="8105" y="820"/>
                  <a:pt x="8105" y="820"/>
                  <a:pt x="8105" y="820"/>
                </a:cubicBezTo>
                <a:cubicBezTo>
                  <a:pt x="8008" y="765"/>
                  <a:pt x="7893" y="737"/>
                  <a:pt x="7759" y="737"/>
                </a:cubicBezTo>
                <a:cubicBezTo>
                  <a:pt x="7615" y="737"/>
                  <a:pt x="7495" y="777"/>
                  <a:pt x="7398" y="857"/>
                </a:cubicBezTo>
                <a:cubicBezTo>
                  <a:pt x="7302" y="937"/>
                  <a:pt x="7254" y="1039"/>
                  <a:pt x="7254" y="1163"/>
                </a:cubicBezTo>
                <a:cubicBezTo>
                  <a:pt x="7254" y="1270"/>
                  <a:pt x="7286" y="1358"/>
                  <a:pt x="7351" y="1427"/>
                </a:cubicBezTo>
                <a:cubicBezTo>
                  <a:pt x="7416" y="1496"/>
                  <a:pt x="7519" y="1560"/>
                  <a:pt x="7660" y="1620"/>
                </a:cubicBezTo>
                <a:cubicBezTo>
                  <a:pt x="7790" y="1677"/>
                  <a:pt x="7880" y="1730"/>
                  <a:pt x="7930" y="1778"/>
                </a:cubicBezTo>
                <a:cubicBezTo>
                  <a:pt x="7979" y="1826"/>
                  <a:pt x="8004" y="1883"/>
                  <a:pt x="8004" y="1948"/>
                </a:cubicBezTo>
                <a:cubicBezTo>
                  <a:pt x="8004" y="2149"/>
                  <a:pt x="7881" y="2249"/>
                  <a:pt x="7636" y="2249"/>
                </a:cubicBezTo>
                <a:cubicBezTo>
                  <a:pt x="7578" y="2249"/>
                  <a:pt x="7510" y="2235"/>
                  <a:pt x="7433" y="2206"/>
                </a:cubicBezTo>
                <a:cubicBezTo>
                  <a:pt x="7357" y="2177"/>
                  <a:pt x="7295" y="2142"/>
                  <a:pt x="7248" y="2101"/>
                </a:cubicBezTo>
                <a:cubicBezTo>
                  <a:pt x="7248" y="2271"/>
                  <a:pt x="7248" y="2271"/>
                  <a:pt x="7248" y="2271"/>
                </a:cubicBezTo>
                <a:cubicBezTo>
                  <a:pt x="7348" y="2342"/>
                  <a:pt x="7473" y="2377"/>
                  <a:pt x="7625" y="2377"/>
                </a:cubicBezTo>
                <a:moveTo>
                  <a:pt x="6643" y="1043"/>
                </a:moveTo>
                <a:cubicBezTo>
                  <a:pt x="6744" y="1162"/>
                  <a:pt x="6794" y="1333"/>
                  <a:pt x="6794" y="1557"/>
                </a:cubicBezTo>
                <a:cubicBezTo>
                  <a:pt x="6794" y="1774"/>
                  <a:pt x="6743" y="1944"/>
                  <a:pt x="6640" y="2066"/>
                </a:cubicBezTo>
                <a:cubicBezTo>
                  <a:pt x="6537" y="2188"/>
                  <a:pt x="6393" y="2249"/>
                  <a:pt x="6206" y="2249"/>
                </a:cubicBezTo>
                <a:cubicBezTo>
                  <a:pt x="6024" y="2249"/>
                  <a:pt x="5879" y="2188"/>
                  <a:pt x="5770" y="2064"/>
                </a:cubicBezTo>
                <a:cubicBezTo>
                  <a:pt x="5662" y="1941"/>
                  <a:pt x="5608" y="1776"/>
                  <a:pt x="5608" y="1570"/>
                </a:cubicBezTo>
                <a:cubicBezTo>
                  <a:pt x="5608" y="1350"/>
                  <a:pt x="5662" y="1177"/>
                  <a:pt x="5772" y="1053"/>
                </a:cubicBezTo>
                <a:cubicBezTo>
                  <a:pt x="5881" y="928"/>
                  <a:pt x="6028" y="866"/>
                  <a:pt x="6212" y="866"/>
                </a:cubicBezTo>
                <a:cubicBezTo>
                  <a:pt x="6399" y="866"/>
                  <a:pt x="6542" y="925"/>
                  <a:pt x="6643" y="1043"/>
                </a:cubicBezTo>
                <a:moveTo>
                  <a:pt x="6739" y="2152"/>
                </a:moveTo>
                <a:cubicBezTo>
                  <a:pt x="6874" y="2002"/>
                  <a:pt x="6941" y="1805"/>
                  <a:pt x="6941" y="1560"/>
                </a:cubicBezTo>
                <a:cubicBezTo>
                  <a:pt x="6941" y="1305"/>
                  <a:pt x="6876" y="1104"/>
                  <a:pt x="6747" y="957"/>
                </a:cubicBezTo>
                <a:cubicBezTo>
                  <a:pt x="6618" y="811"/>
                  <a:pt x="6442" y="737"/>
                  <a:pt x="6219" y="737"/>
                </a:cubicBezTo>
                <a:cubicBezTo>
                  <a:pt x="5987" y="737"/>
                  <a:pt x="5803" y="812"/>
                  <a:pt x="5666" y="960"/>
                </a:cubicBezTo>
                <a:cubicBezTo>
                  <a:pt x="5530" y="1109"/>
                  <a:pt x="5461" y="1311"/>
                  <a:pt x="5461" y="1567"/>
                </a:cubicBezTo>
                <a:cubicBezTo>
                  <a:pt x="5461" y="1810"/>
                  <a:pt x="5528" y="2006"/>
                  <a:pt x="5662" y="2155"/>
                </a:cubicBezTo>
                <a:cubicBezTo>
                  <a:pt x="5796" y="2303"/>
                  <a:pt x="5976" y="2377"/>
                  <a:pt x="6202" y="2377"/>
                </a:cubicBezTo>
                <a:cubicBezTo>
                  <a:pt x="6426" y="2377"/>
                  <a:pt x="6605" y="2302"/>
                  <a:pt x="6739" y="2152"/>
                </a:cubicBezTo>
                <a:moveTo>
                  <a:pt x="5342" y="772"/>
                </a:moveTo>
                <a:cubicBezTo>
                  <a:pt x="5296" y="754"/>
                  <a:pt x="5244" y="745"/>
                  <a:pt x="5186" y="745"/>
                </a:cubicBezTo>
                <a:cubicBezTo>
                  <a:pt x="5084" y="745"/>
                  <a:pt x="4995" y="778"/>
                  <a:pt x="4917" y="843"/>
                </a:cubicBezTo>
                <a:cubicBezTo>
                  <a:pt x="4840" y="909"/>
                  <a:pt x="4783" y="1002"/>
                  <a:pt x="4748" y="1122"/>
                </a:cubicBezTo>
                <a:cubicBezTo>
                  <a:pt x="4742" y="1122"/>
                  <a:pt x="4742" y="1122"/>
                  <a:pt x="4742" y="1122"/>
                </a:cubicBezTo>
                <a:cubicBezTo>
                  <a:pt x="4742" y="775"/>
                  <a:pt x="4742" y="775"/>
                  <a:pt x="4742" y="775"/>
                </a:cubicBezTo>
                <a:cubicBezTo>
                  <a:pt x="4604" y="775"/>
                  <a:pt x="4604" y="775"/>
                  <a:pt x="4604" y="775"/>
                </a:cubicBezTo>
                <a:cubicBezTo>
                  <a:pt x="4604" y="2339"/>
                  <a:pt x="4604" y="2339"/>
                  <a:pt x="4604" y="2339"/>
                </a:cubicBezTo>
                <a:cubicBezTo>
                  <a:pt x="4742" y="2339"/>
                  <a:pt x="4742" y="2339"/>
                  <a:pt x="4742" y="2339"/>
                </a:cubicBezTo>
                <a:cubicBezTo>
                  <a:pt x="4742" y="1605"/>
                  <a:pt x="4742" y="1605"/>
                  <a:pt x="4742" y="1605"/>
                </a:cubicBezTo>
                <a:cubicBezTo>
                  <a:pt x="4742" y="1458"/>
                  <a:pt x="4760" y="1329"/>
                  <a:pt x="4798" y="1217"/>
                </a:cubicBezTo>
                <a:cubicBezTo>
                  <a:pt x="4835" y="1105"/>
                  <a:pt x="4886" y="1019"/>
                  <a:pt x="4952" y="960"/>
                </a:cubicBezTo>
                <a:cubicBezTo>
                  <a:pt x="5019" y="901"/>
                  <a:pt x="5093" y="872"/>
                  <a:pt x="5177" y="872"/>
                </a:cubicBezTo>
                <a:cubicBezTo>
                  <a:pt x="5239" y="872"/>
                  <a:pt x="5294" y="888"/>
                  <a:pt x="5342" y="922"/>
                </a:cubicBezTo>
                <a:lnTo>
                  <a:pt x="5342" y="772"/>
                </a:lnTo>
                <a:close/>
                <a:moveTo>
                  <a:pt x="4229" y="2124"/>
                </a:moveTo>
                <a:cubicBezTo>
                  <a:pt x="4113" y="2207"/>
                  <a:pt x="3977" y="2249"/>
                  <a:pt x="3819" y="2249"/>
                </a:cubicBezTo>
                <a:cubicBezTo>
                  <a:pt x="3647" y="2249"/>
                  <a:pt x="3509" y="2187"/>
                  <a:pt x="3405" y="2063"/>
                </a:cubicBezTo>
                <a:cubicBezTo>
                  <a:pt x="3302" y="1939"/>
                  <a:pt x="3250" y="1776"/>
                  <a:pt x="3250" y="1576"/>
                </a:cubicBezTo>
                <a:cubicBezTo>
                  <a:pt x="3250" y="1440"/>
                  <a:pt x="3275" y="1318"/>
                  <a:pt x="3327" y="1210"/>
                </a:cubicBezTo>
                <a:cubicBezTo>
                  <a:pt x="3378" y="1101"/>
                  <a:pt x="3451" y="1017"/>
                  <a:pt x="3546" y="956"/>
                </a:cubicBezTo>
                <a:cubicBezTo>
                  <a:pt x="3641" y="896"/>
                  <a:pt x="3747" y="866"/>
                  <a:pt x="3867" y="866"/>
                </a:cubicBezTo>
                <a:cubicBezTo>
                  <a:pt x="4000" y="866"/>
                  <a:pt x="4123" y="900"/>
                  <a:pt x="4235" y="969"/>
                </a:cubicBezTo>
                <a:cubicBezTo>
                  <a:pt x="4235" y="811"/>
                  <a:pt x="4235" y="811"/>
                  <a:pt x="4235" y="811"/>
                </a:cubicBezTo>
                <a:cubicBezTo>
                  <a:pt x="4123" y="762"/>
                  <a:pt x="4007" y="737"/>
                  <a:pt x="3888" y="737"/>
                </a:cubicBezTo>
                <a:cubicBezTo>
                  <a:pt x="3738" y="737"/>
                  <a:pt x="3604" y="773"/>
                  <a:pt x="3485" y="845"/>
                </a:cubicBezTo>
                <a:cubicBezTo>
                  <a:pt x="3366" y="917"/>
                  <a:pt x="3272" y="1018"/>
                  <a:pt x="3205" y="1149"/>
                </a:cubicBezTo>
                <a:cubicBezTo>
                  <a:pt x="3137" y="1280"/>
                  <a:pt x="3103" y="1425"/>
                  <a:pt x="3103" y="1585"/>
                </a:cubicBezTo>
                <a:cubicBezTo>
                  <a:pt x="3103" y="1738"/>
                  <a:pt x="3133" y="1875"/>
                  <a:pt x="3192" y="1996"/>
                </a:cubicBezTo>
                <a:cubicBezTo>
                  <a:pt x="3251" y="2117"/>
                  <a:pt x="3334" y="2211"/>
                  <a:pt x="3443" y="2277"/>
                </a:cubicBezTo>
                <a:cubicBezTo>
                  <a:pt x="3551" y="2344"/>
                  <a:pt x="3675" y="2377"/>
                  <a:pt x="3813" y="2377"/>
                </a:cubicBezTo>
                <a:cubicBezTo>
                  <a:pt x="3975" y="2377"/>
                  <a:pt x="4113" y="2342"/>
                  <a:pt x="4229" y="2271"/>
                </a:cubicBezTo>
                <a:lnTo>
                  <a:pt x="4229" y="2124"/>
                </a:lnTo>
                <a:close/>
                <a:moveTo>
                  <a:pt x="2715" y="775"/>
                </a:moveTo>
                <a:cubicBezTo>
                  <a:pt x="2575" y="775"/>
                  <a:pt x="2575" y="775"/>
                  <a:pt x="2575" y="775"/>
                </a:cubicBezTo>
                <a:cubicBezTo>
                  <a:pt x="2575" y="2339"/>
                  <a:pt x="2575" y="2339"/>
                  <a:pt x="2575" y="2339"/>
                </a:cubicBezTo>
                <a:cubicBezTo>
                  <a:pt x="2715" y="2339"/>
                  <a:pt x="2715" y="2339"/>
                  <a:pt x="2715" y="2339"/>
                </a:cubicBezTo>
                <a:lnTo>
                  <a:pt x="2715" y="775"/>
                </a:lnTo>
                <a:close/>
                <a:moveTo>
                  <a:pt x="2727" y="346"/>
                </a:moveTo>
                <a:cubicBezTo>
                  <a:pt x="2751" y="323"/>
                  <a:pt x="2762" y="295"/>
                  <a:pt x="2762" y="262"/>
                </a:cubicBezTo>
                <a:cubicBezTo>
                  <a:pt x="2762" y="228"/>
                  <a:pt x="2750" y="200"/>
                  <a:pt x="2727" y="180"/>
                </a:cubicBezTo>
                <a:cubicBezTo>
                  <a:pt x="2703" y="159"/>
                  <a:pt x="2675" y="149"/>
                  <a:pt x="2643" y="149"/>
                </a:cubicBezTo>
                <a:cubicBezTo>
                  <a:pt x="2614" y="149"/>
                  <a:pt x="2587" y="160"/>
                  <a:pt x="2563" y="181"/>
                </a:cubicBezTo>
                <a:cubicBezTo>
                  <a:pt x="2539" y="201"/>
                  <a:pt x="2527" y="229"/>
                  <a:pt x="2527" y="262"/>
                </a:cubicBezTo>
                <a:cubicBezTo>
                  <a:pt x="2527" y="297"/>
                  <a:pt x="2539" y="325"/>
                  <a:pt x="2562" y="348"/>
                </a:cubicBezTo>
                <a:cubicBezTo>
                  <a:pt x="2586" y="370"/>
                  <a:pt x="2613" y="381"/>
                  <a:pt x="2643" y="381"/>
                </a:cubicBezTo>
                <a:cubicBezTo>
                  <a:pt x="2676" y="381"/>
                  <a:pt x="2704" y="370"/>
                  <a:pt x="2727" y="346"/>
                </a:cubicBezTo>
                <a:moveTo>
                  <a:pt x="2043" y="2339"/>
                </a:moveTo>
                <a:cubicBezTo>
                  <a:pt x="2043" y="149"/>
                  <a:pt x="2043" y="149"/>
                  <a:pt x="2043" y="149"/>
                </a:cubicBezTo>
                <a:cubicBezTo>
                  <a:pt x="1909" y="149"/>
                  <a:pt x="1909" y="149"/>
                  <a:pt x="1909" y="149"/>
                </a:cubicBezTo>
                <a:cubicBezTo>
                  <a:pt x="1104" y="1901"/>
                  <a:pt x="1104" y="1901"/>
                  <a:pt x="1104" y="1901"/>
                </a:cubicBezTo>
                <a:cubicBezTo>
                  <a:pt x="1035" y="2095"/>
                  <a:pt x="1035" y="2095"/>
                  <a:pt x="1035" y="2095"/>
                </a:cubicBezTo>
                <a:cubicBezTo>
                  <a:pt x="1026" y="2095"/>
                  <a:pt x="1026" y="2095"/>
                  <a:pt x="1026" y="2095"/>
                </a:cubicBezTo>
                <a:cubicBezTo>
                  <a:pt x="974" y="1954"/>
                  <a:pt x="974" y="1954"/>
                  <a:pt x="974" y="1954"/>
                </a:cubicBezTo>
                <a:cubicBezTo>
                  <a:pt x="957" y="1913"/>
                  <a:pt x="957" y="1913"/>
                  <a:pt x="957" y="1913"/>
                </a:cubicBezTo>
                <a:cubicBezTo>
                  <a:pt x="140" y="149"/>
                  <a:pt x="140" y="149"/>
                  <a:pt x="14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2339"/>
                  <a:pt x="0" y="2339"/>
                  <a:pt x="0" y="2339"/>
                </a:cubicBezTo>
                <a:cubicBezTo>
                  <a:pt x="151" y="2339"/>
                  <a:pt x="151" y="2339"/>
                  <a:pt x="151" y="2339"/>
                </a:cubicBezTo>
                <a:cubicBezTo>
                  <a:pt x="151" y="748"/>
                  <a:pt x="151" y="748"/>
                  <a:pt x="151" y="748"/>
                </a:cubicBezTo>
                <a:cubicBezTo>
                  <a:pt x="151" y="639"/>
                  <a:pt x="147" y="542"/>
                  <a:pt x="140" y="456"/>
                </a:cubicBezTo>
                <a:cubicBezTo>
                  <a:pt x="148" y="456"/>
                  <a:pt x="148" y="456"/>
                  <a:pt x="148" y="456"/>
                </a:cubicBezTo>
                <a:cubicBezTo>
                  <a:pt x="167" y="536"/>
                  <a:pt x="191" y="604"/>
                  <a:pt x="220" y="662"/>
                </a:cubicBezTo>
                <a:cubicBezTo>
                  <a:pt x="1002" y="2339"/>
                  <a:pt x="1002" y="2339"/>
                  <a:pt x="1002" y="2339"/>
                </a:cubicBezTo>
                <a:cubicBezTo>
                  <a:pt x="1050" y="2339"/>
                  <a:pt x="1050" y="2339"/>
                  <a:pt x="1050" y="2339"/>
                </a:cubicBezTo>
                <a:cubicBezTo>
                  <a:pt x="1829" y="653"/>
                  <a:pt x="1829" y="653"/>
                  <a:pt x="1829" y="653"/>
                </a:cubicBezTo>
                <a:cubicBezTo>
                  <a:pt x="1909" y="462"/>
                  <a:pt x="1909" y="462"/>
                  <a:pt x="1909" y="462"/>
                </a:cubicBezTo>
                <a:cubicBezTo>
                  <a:pt x="1915" y="462"/>
                  <a:pt x="1915" y="462"/>
                  <a:pt x="1915" y="462"/>
                </a:cubicBezTo>
                <a:cubicBezTo>
                  <a:pt x="1898" y="785"/>
                  <a:pt x="1898" y="785"/>
                  <a:pt x="1898" y="785"/>
                </a:cubicBezTo>
                <a:cubicBezTo>
                  <a:pt x="1898" y="2339"/>
                  <a:pt x="1898" y="2339"/>
                  <a:pt x="1898" y="2339"/>
                </a:cubicBezTo>
                <a:lnTo>
                  <a:pt x="2043" y="233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43" tIns="44821" rIns="89643" bIns="44821" numCol="1" anchor="t" anchorCtr="0" compatLnSpc="1">
            <a:prstTxWarp prst="textNoShape">
              <a:avLst/>
            </a:prstTxWarp>
          </a:bodyPr>
          <a:lstStyle/>
          <a:p>
            <a:endParaRPr lang="en-US" sz="2130">
              <a:gradFill>
                <a:gsLst>
                  <a:gs pos="56637">
                    <a:schemeClr val="tx1"/>
                  </a:gs>
                  <a:gs pos="33000">
                    <a:schemeClr val="tx1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765012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C64ED-2501-4FE4-8C72-873187C81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A9B703-6A51-4497-A08D-06B8124E31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F3C7ED-59BB-41A5-A2A3-005FA24D0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460E-3060-4ADD-B1FA-080DC3F47103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625E69-F678-4EBB-BA52-F2DAE044C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47C40-0223-40D0-84D6-2EDC08896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FA2AF-90C1-4856-9D0F-91C7218675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4793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58258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08"/>
            <a:ext cx="12192000" cy="685598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gradFill>
                  <a:gsLst>
                    <a:gs pos="95600">
                      <a:schemeClr val="bg2"/>
                    </a:gs>
                    <a:gs pos="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gradFill>
                  <a:gsLst>
                    <a:gs pos="95600">
                      <a:schemeClr val="bg2"/>
                    </a:gs>
                    <a:gs pos="0">
                      <a:schemeClr val="bg2"/>
                    </a:gs>
                  </a:gsLst>
                  <a:lin ang="0" scaled="0"/>
                </a:gra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60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98" baseline="0" dirty="0">
                <a:gradFill>
                  <a:gsLst>
                    <a:gs pos="956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32740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98" baseline="0" dirty="0">
                <a:gradFill>
                  <a:gsLst>
                    <a:gs pos="956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367504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98" baseline="0" dirty="0">
                <a:gradFill>
                  <a:gsLst>
                    <a:gs pos="95600">
                      <a:schemeClr val="bg2"/>
                    </a:gs>
                    <a:gs pos="0">
                      <a:schemeClr val="bg2"/>
                    </a:gs>
                  </a:gsLst>
                  <a:lin ang="0" scaled="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584458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98" baseline="0" dirty="0">
                <a:gradFill>
                  <a:gsLst>
                    <a:gs pos="95600">
                      <a:schemeClr val="tx1"/>
                    </a:gs>
                    <a:gs pos="0">
                      <a:schemeClr val="tx1"/>
                    </a:gs>
                  </a:gsLst>
                  <a:lin ang="0" scaled="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1" y="962821"/>
            <a:ext cx="11655078" cy="603435"/>
          </a:xfrm>
        </p:spPr>
        <p:txBody>
          <a:bodyPr tIns="0" bIns="0"/>
          <a:lstStyle>
            <a:lvl1pPr marL="0" indent="0">
              <a:buNone/>
              <a:defRPr lang="en-US" sz="1961" kern="1200" spc="0" baseline="0" dirty="0">
                <a:gradFill>
                  <a:gsLst>
                    <a:gs pos="95600">
                      <a:schemeClr val="accent1"/>
                    </a:gs>
                    <a:gs pos="0">
                      <a:schemeClr val="accent1"/>
                    </a:gs>
                  </a:gsLst>
                  <a:lin ang="0" scaled="0"/>
                </a:gra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214" rtl="0" eaLnBrk="1" latinLnBrk="0" hangingPunct="1"/>
            <a:r>
              <a:rPr lang="en-US"/>
              <a:t>Edit Master text styles</a:t>
            </a:r>
          </a:p>
          <a:p>
            <a:pPr marL="0" lvl="0" algn="l" defTabSz="896214" rtl="0" eaLnBrk="1" latinLnBrk="0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43759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ubtitl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98" baseline="0" dirty="0">
                <a:gradFill>
                  <a:gsLst>
                    <a:gs pos="95600">
                      <a:schemeClr val="bg2"/>
                    </a:gs>
                    <a:gs pos="0">
                      <a:schemeClr val="bg2"/>
                    </a:gs>
                  </a:gsLst>
                  <a:lin ang="0" scaled="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1" y="962821"/>
            <a:ext cx="11655078" cy="603435"/>
          </a:xfrm>
        </p:spPr>
        <p:txBody>
          <a:bodyPr tIns="0" bIns="0"/>
          <a:lstStyle>
            <a:lvl1pPr marL="0" indent="0">
              <a:buNone/>
              <a:defRPr lang="en-US" sz="1961" kern="1200" spc="-29" baseline="0" dirty="0">
                <a:gradFill>
                  <a:gsLst>
                    <a:gs pos="95600">
                      <a:schemeClr val="accent1"/>
                    </a:gs>
                    <a:gs pos="0">
                      <a:schemeClr val="accent1"/>
                    </a:gs>
                  </a:gsLst>
                  <a:lin ang="0" scaled="0"/>
                </a:gra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214" rtl="0" eaLnBrk="1" latinLnBrk="0" hangingPunct="1"/>
            <a:r>
              <a:rPr lang="en-US"/>
              <a:t>Edit Master text styles</a:t>
            </a:r>
          </a:p>
          <a:p>
            <a:pPr marL="0" lvl="0" algn="l" defTabSz="896214" rtl="0" eaLnBrk="1" latinLnBrk="0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24603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311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5221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626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321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170060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2C292A"/>
                    </a:gs>
                    <a:gs pos="100000">
                      <a:srgbClr val="2C292A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493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170060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solidFill>
                  <a:srgbClr val="2C292A">
                    <a:lumMod val="25000"/>
                    <a:lumOff val="75000"/>
                  </a:srgbClr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64" y="2679588"/>
            <a:ext cx="4074608" cy="149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47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9872" y="186102"/>
            <a:ext cx="1613565" cy="78821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2428963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3693372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49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0940" y="5782939"/>
            <a:ext cx="1706115" cy="62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17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_a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189362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Subtitle">
    <p:spTree>
      <p:nvGrpSpPr>
        <p:cNvPr id="1" name="">
          <a:extLst/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81001" y="365127"/>
            <a:ext cx="11430000" cy="350865"/>
          </a:xfrm>
        </p:spPr>
        <p:txBody>
          <a:bodyPr tIns="91440" bIns="91440" anchor="t">
            <a:spAutoFit/>
          </a:bodyPr>
          <a:lstStyle>
            <a:lvl1pPr>
              <a:defRPr sz="1200">
                <a:latin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/>
          </p:cNvPr>
          <p:cNvSpPr>
            <a:spLocks noGrp="1"/>
          </p:cNvSpPr>
          <p:nvPr>
            <p:ph type="subTitle" idx="1"/>
          </p:nvPr>
        </p:nvSpPr>
        <p:spPr>
          <a:xfrm>
            <a:off x="381001" y="685801"/>
            <a:ext cx="11430000" cy="568772"/>
          </a:xfrm>
        </p:spPr>
        <p:txBody>
          <a:bodyPr wrap="square">
            <a:spAutoFit/>
          </a:bodyPr>
          <a:lstStyle>
            <a:lvl1pPr marL="0" indent="0" algn="l">
              <a:buNone/>
              <a:defRPr sz="2799"/>
            </a:lvl1pPr>
            <a:lvl2pPr marL="456976" indent="0" algn="ctr">
              <a:buNone/>
              <a:defRPr sz="1999"/>
            </a:lvl2pPr>
            <a:lvl3pPr marL="913950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0" indent="0" algn="ctr">
              <a:buNone/>
              <a:defRPr sz="1600"/>
            </a:lvl7pPr>
            <a:lvl8pPr marL="3198826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91718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 (event n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2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2980727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8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8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42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4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8" y="6087742"/>
            <a:ext cx="1424426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877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1" y="2077803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5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70306" y="470067"/>
            <a:ext cx="1749412" cy="38410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A5BF7F-325C-441F-86E0-45FA700F02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39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32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2489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41" y="2077803"/>
            <a:ext cx="5825253" cy="359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698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5" y="3877276"/>
            <a:ext cx="5826698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470067"/>
            <a:ext cx="1792850" cy="3841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B9C4B3-BBA2-4C09-AD7D-E43322A83D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039" y="0"/>
            <a:ext cx="56469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46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11" indent="0">
              <a:buNone/>
              <a:defRPr/>
            </a:lvl2pPr>
            <a:lvl3pPr marL="448021" indent="0">
              <a:buNone/>
              <a:defRPr/>
            </a:lvl3pPr>
            <a:lvl4pPr marL="672032" indent="0">
              <a:buNone/>
              <a:defRPr/>
            </a:lvl4pPr>
            <a:lvl5pPr marL="89604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851774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5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717614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457" indent="0">
              <a:buFont typeface="Wingdings" panose="05000000000000000000" pitchFamily="2" charset="2"/>
              <a:buNone/>
              <a:defRPr sz="2353" b="0"/>
            </a:lvl2pPr>
            <a:lvl3pPr marL="441798" indent="0">
              <a:buFont typeface="Wingdings" panose="05000000000000000000" pitchFamily="2" charset="2"/>
              <a:buNone/>
              <a:tabLst/>
              <a:defRPr sz="2157" b="0"/>
            </a:lvl3pPr>
            <a:lvl4pPr marL="639362" indent="0">
              <a:buFont typeface="Wingdings" panose="05000000000000000000" pitchFamily="2" charset="2"/>
              <a:buNone/>
              <a:defRPr sz="2157" b="0"/>
            </a:lvl4pPr>
            <a:lvl5pPr marL="836928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6"/>
            <a:ext cx="5378548" cy="246221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5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79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36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2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23" marR="0" lvl="0" indent="-504023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23" marR="0" lvl="1" indent="-504023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23" marR="0" lvl="2" indent="-504023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23" marR="0" lvl="3" indent="-504023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23" marR="0" lvl="4" indent="-504023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962009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7644"/>
            <a:ext cx="5378548" cy="2115402"/>
          </a:xfrm>
        </p:spPr>
        <p:txBody>
          <a:bodyPr wrap="square">
            <a:spAutoFit/>
          </a:bodyPr>
          <a:lstStyle>
            <a:lvl1pPr marL="227122" indent="-227122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465" indent="-168008">
              <a:buFont typeface="Wingdings" panose="05000000000000000000" pitchFamily="2" charset="2"/>
              <a:buChar char=""/>
              <a:defRPr sz="2353" b="0"/>
            </a:lvl2pPr>
            <a:lvl3pPr marL="626919" indent="-185120">
              <a:buFont typeface="Wingdings" panose="05000000000000000000" pitchFamily="2" charset="2"/>
              <a:buChar char=""/>
              <a:tabLst/>
              <a:defRPr sz="2157" b="0"/>
            </a:lvl3pPr>
            <a:lvl4pPr marL="812038" indent="-172676">
              <a:buFont typeface="Wingdings" panose="05000000000000000000" pitchFamily="2" charset="2"/>
              <a:buChar char=""/>
              <a:defRPr sz="2157" b="0"/>
            </a:lvl4pPr>
            <a:lvl5pPr marL="1003380" indent="-16645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6"/>
            <a:ext cx="5378548" cy="2462213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472" indent="-33601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13" indent="-33601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378" indent="-33601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2945" indent="-33601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22" marR="0" lvl="0" indent="-227122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22" marR="0" lvl="1" indent="-227122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22" marR="0" lvl="2" indent="-227122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22" marR="0" lvl="3" indent="-227122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22" marR="0" lvl="4" indent="-227122" algn="l" defTabSz="914016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906567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300303-C7C9-4BCD-A68A-BFE2D02A82D4}"/>
              </a:ext>
            </a:extLst>
          </p:cNvPr>
          <p:cNvSpPr/>
          <p:nvPr userDrawn="1"/>
        </p:nvSpPr>
        <p:spPr>
          <a:xfrm>
            <a:off x="1" y="488"/>
            <a:ext cx="12192000" cy="947300"/>
          </a:xfrm>
          <a:prstGeom prst="rect">
            <a:avLst/>
          </a:prstGeom>
          <a:solidFill>
            <a:schemeClr val="accent1"/>
          </a:solidFill>
          <a:ln w="6350">
            <a:noFill/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91B1E1-5C1C-4C9A-8BF4-C36029BF7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91B1E1-5C1C-4C9A-8BF4-C36029BF7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121183"/>
            <a:ext cx="11655840" cy="70591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9526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08186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4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67497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417102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49437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(null)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theme" Target="../theme/theme10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1.(null)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5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image" Target="../media/image11.emf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vmlDrawing" Target="../drawings/vmlDrawing2.v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image" Target="../media/image10.emf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theme" Target="../theme/theme6.xml"/><Relationship Id="rId30" Type="http://schemas.openxmlformats.org/officeDocument/2006/relationships/oleObject" Target="../embeddings/oleObject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vmlDrawing" Target="../drawings/vmlDrawing4.v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image" Target="../media/image10.emf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oleObject" Target="../embeddings/oleObject4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2.xml"/><Relationship Id="rId21" Type="http://schemas.openxmlformats.org/officeDocument/2006/relationships/vmlDrawing" Target="../drawings/vmlDrawing6.v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image" Target="../media/image11.emf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image" Target="../media/image10.emf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oleObject" Target="../embeddings/oleObject6.bin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BFE142-6785-2048-B8E8-B4A1512965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793" y="5270593"/>
            <a:ext cx="2260436" cy="1012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944F60-3FF7-7D4D-B644-B3298657E7A6}"/>
              </a:ext>
            </a:extLst>
          </p:cNvPr>
          <p:cNvSpPr txBox="1"/>
          <p:nvPr userDrawn="1"/>
        </p:nvSpPr>
        <p:spPr>
          <a:xfrm>
            <a:off x="8721970" y="5718466"/>
            <a:ext cx="26376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0" i="0" spc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16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866900"/>
            <a:ext cx="11277600" cy="4533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6"/>
          <p:cNvSpPr txBox="1">
            <a:spLocks/>
          </p:cNvSpPr>
          <p:nvPr/>
        </p:nvSpPr>
        <p:spPr>
          <a:xfrm>
            <a:off x="12559431" y="201180"/>
            <a:ext cx="973905" cy="256020"/>
          </a:xfrm>
          <a:prstGeom prst="rect">
            <a:avLst/>
          </a:prstGeom>
          <a:noFill/>
          <a:ln w="12700"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1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20000"/>
              <a:buFontTx/>
              <a:buNone/>
              <a:defRPr lang="en-US" sz="1800" b="0" i="0" kern="1200" dirty="0">
                <a:solidFill>
                  <a:schemeClr val="bg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1pPr>
            <a:lvl2pPr marL="228600" indent="-230188" algn="l" defTabSz="9141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lang="en-US" sz="2000" b="0" i="0" kern="1200" dirty="0" smtClean="0">
                <a:solidFill>
                  <a:schemeClr val="bg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2pPr>
            <a:lvl3pPr marL="457200" indent="-228600" algn="l" defTabSz="9141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lang="en-US" sz="1700" b="0" i="0" kern="1200" dirty="0" smtClean="0">
                <a:solidFill>
                  <a:schemeClr val="bg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3pPr>
            <a:lvl4pPr marL="685800" indent="-228600" algn="l" defTabSz="9141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tabLst/>
              <a:defRPr lang="en-US" sz="1400" b="0" i="0" kern="1200" dirty="0" smtClean="0">
                <a:solidFill>
                  <a:schemeClr val="bg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4pPr>
            <a:lvl5pPr marL="1254125" indent="-285750" algn="l" defTabSz="914132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/>
              <a:buChar char="•"/>
              <a:defRPr lang="en-US" sz="1800" b="0" i="0" kern="1200" dirty="0">
                <a:solidFill>
                  <a:schemeClr val="tx1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5pPr>
            <a:lvl6pPr marL="2513861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26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92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57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tx1"/>
                </a:solidFill>
              </a:rPr>
              <a:t>Chart Colo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4F73E5-6C80-4314-B495-58DB38D61DBD}"/>
              </a:ext>
            </a:extLst>
          </p:cNvPr>
          <p:cNvGrpSpPr/>
          <p:nvPr/>
        </p:nvGrpSpPr>
        <p:grpSpPr>
          <a:xfrm>
            <a:off x="12889129" y="3184178"/>
            <a:ext cx="354531" cy="899599"/>
            <a:chOff x="12516569" y="7267707"/>
            <a:chExt cx="354531" cy="899599"/>
          </a:xfrm>
        </p:grpSpPr>
        <p:sp>
          <p:nvSpPr>
            <p:cNvPr id="8" name="Rectangle 7"/>
            <p:cNvSpPr/>
            <p:nvPr/>
          </p:nvSpPr>
          <p:spPr>
            <a:xfrm rot="16200000">
              <a:off x="12221159" y="7563117"/>
              <a:ext cx="899599" cy="3087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4" name="Content Placeholder 17"/>
            <p:cNvSpPr txBox="1">
              <a:spLocks/>
            </p:cNvSpPr>
            <p:nvPr/>
          </p:nvSpPr>
          <p:spPr>
            <a:xfrm rot="16200000">
              <a:off x="12340014" y="7562502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R0 G120 B215</a:t>
              </a:r>
              <a:b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</a:br>
              <a:r>
                <a:rPr lang="tr-TR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0078D7</a:t>
              </a:r>
              <a:endParaRPr lang="en-US" sz="700" b="0">
                <a:solidFill>
                  <a:schemeClr val="tx2"/>
                </a:solidFill>
                <a:latin typeface="Segoe UI" charset="0"/>
                <a:cs typeface="Segoe UI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CDFBAE3-68D9-4F23-BC09-995958797A9A}"/>
              </a:ext>
            </a:extLst>
          </p:cNvPr>
          <p:cNvGrpSpPr/>
          <p:nvPr/>
        </p:nvGrpSpPr>
        <p:grpSpPr>
          <a:xfrm>
            <a:off x="12554434" y="3184178"/>
            <a:ext cx="354532" cy="896684"/>
            <a:chOff x="12516568" y="6370703"/>
            <a:chExt cx="354532" cy="896684"/>
          </a:xfrm>
        </p:grpSpPr>
        <p:sp>
          <p:nvSpPr>
            <p:cNvPr id="9" name="Rectangle 8"/>
            <p:cNvSpPr/>
            <p:nvPr/>
          </p:nvSpPr>
          <p:spPr>
            <a:xfrm rot="16200000">
              <a:off x="12222616" y="6664655"/>
              <a:ext cx="896684" cy="30878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5" name="Content Placeholder 17"/>
            <p:cNvSpPr txBox="1">
              <a:spLocks/>
            </p:cNvSpPr>
            <p:nvPr/>
          </p:nvSpPr>
          <p:spPr>
            <a:xfrm rot="16200000">
              <a:off x="12340014" y="6676851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  <a:t>R0 G138 B249</a:t>
              </a:r>
              <a:br>
                <a:rPr lang="en-U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</a:br>
              <a:r>
                <a:rPr lang="is-I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  <a:t>008AF9</a:t>
              </a:r>
              <a:endParaRPr lang="en-US" sz="700" b="0">
                <a:solidFill>
                  <a:schemeClr val="tx1"/>
                </a:solidFill>
                <a:latin typeface="Segoe UI" charset="0"/>
                <a:cs typeface="Segoe UI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1250AB-C5DB-4B5C-99FC-DEF21E86A517}"/>
              </a:ext>
            </a:extLst>
          </p:cNvPr>
          <p:cNvGrpSpPr/>
          <p:nvPr/>
        </p:nvGrpSpPr>
        <p:grpSpPr>
          <a:xfrm>
            <a:off x="12889130" y="2268792"/>
            <a:ext cx="354531" cy="896685"/>
            <a:chOff x="12516569" y="5474017"/>
            <a:chExt cx="354531" cy="896685"/>
          </a:xfrm>
        </p:grpSpPr>
        <p:sp>
          <p:nvSpPr>
            <p:cNvPr id="10" name="Rectangle 9"/>
            <p:cNvSpPr/>
            <p:nvPr/>
          </p:nvSpPr>
          <p:spPr>
            <a:xfrm rot="16200000">
              <a:off x="12222616" y="5767970"/>
              <a:ext cx="896685" cy="3087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6" name="Content Placeholder 17"/>
            <p:cNvSpPr txBox="1">
              <a:spLocks/>
            </p:cNvSpPr>
            <p:nvPr/>
          </p:nvSpPr>
          <p:spPr>
            <a:xfrm rot="16200000">
              <a:off x="12340014" y="5779845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R77 G176 B255</a:t>
              </a:r>
              <a:b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</a:br>
              <a:r>
                <a:rPr lang="cs-CZ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4DB0FF</a:t>
              </a:r>
              <a:endParaRPr lang="en-US" sz="700" b="0">
                <a:solidFill>
                  <a:schemeClr val="tx2"/>
                </a:solidFill>
                <a:latin typeface="Segoe UI" charset="0"/>
                <a:cs typeface="Segoe UI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C330CFF-4FDE-4352-9D1C-62BD69F6DBA6}"/>
              </a:ext>
            </a:extLst>
          </p:cNvPr>
          <p:cNvGrpSpPr/>
          <p:nvPr/>
        </p:nvGrpSpPr>
        <p:grpSpPr>
          <a:xfrm>
            <a:off x="12558643" y="2268793"/>
            <a:ext cx="354532" cy="896684"/>
            <a:chOff x="12516568" y="4568745"/>
            <a:chExt cx="354532" cy="896684"/>
          </a:xfrm>
        </p:grpSpPr>
        <p:sp>
          <p:nvSpPr>
            <p:cNvPr id="11" name="Rectangle 10"/>
            <p:cNvSpPr/>
            <p:nvPr/>
          </p:nvSpPr>
          <p:spPr>
            <a:xfrm rot="16200000">
              <a:off x="12222616" y="4862697"/>
              <a:ext cx="896684" cy="30878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7" name="Content Placeholder 17"/>
            <p:cNvSpPr txBox="1">
              <a:spLocks/>
            </p:cNvSpPr>
            <p:nvPr/>
          </p:nvSpPr>
          <p:spPr>
            <a:xfrm rot="16200000">
              <a:off x="12340014" y="4888515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R148 G208 B255</a:t>
              </a:r>
              <a:b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</a:br>
              <a: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94D0FF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48B3C7A-0ECC-425A-BC4C-88758B632861}"/>
              </a:ext>
            </a:extLst>
          </p:cNvPr>
          <p:cNvGrpSpPr/>
          <p:nvPr/>
        </p:nvGrpSpPr>
        <p:grpSpPr>
          <a:xfrm>
            <a:off x="12559431" y="1353883"/>
            <a:ext cx="354531" cy="890209"/>
            <a:chOff x="12516569" y="3683889"/>
            <a:chExt cx="354531" cy="890209"/>
          </a:xfrm>
        </p:grpSpPr>
        <p:sp>
          <p:nvSpPr>
            <p:cNvPr id="12" name="Rectangle 11"/>
            <p:cNvSpPr/>
            <p:nvPr/>
          </p:nvSpPr>
          <p:spPr>
            <a:xfrm rot="16200000">
              <a:off x="12225854" y="3974604"/>
              <a:ext cx="890209" cy="3087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8" name="Content Placeholder 17"/>
            <p:cNvSpPr txBox="1">
              <a:spLocks/>
            </p:cNvSpPr>
            <p:nvPr/>
          </p:nvSpPr>
          <p:spPr>
            <a:xfrm rot="16200000">
              <a:off x="12340014" y="3985832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R177 G214 B242</a:t>
              </a:r>
              <a:b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</a:b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B1D6F2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52AC90-0D93-47B8-A36C-9BA320D61208}"/>
              </a:ext>
            </a:extLst>
          </p:cNvPr>
          <p:cNvGrpSpPr/>
          <p:nvPr/>
        </p:nvGrpSpPr>
        <p:grpSpPr>
          <a:xfrm>
            <a:off x="12555520" y="436781"/>
            <a:ext cx="354532" cy="896684"/>
            <a:chOff x="12516568" y="2787206"/>
            <a:chExt cx="354532" cy="896684"/>
          </a:xfrm>
        </p:grpSpPr>
        <p:sp>
          <p:nvSpPr>
            <p:cNvPr id="19" name="Rectangle 18"/>
            <p:cNvSpPr/>
            <p:nvPr/>
          </p:nvSpPr>
          <p:spPr>
            <a:xfrm rot="16200000">
              <a:off x="12222616" y="3081158"/>
              <a:ext cx="896684" cy="3087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23" name="Content Placeholder 17"/>
            <p:cNvSpPr txBox="1">
              <a:spLocks/>
            </p:cNvSpPr>
            <p:nvPr/>
          </p:nvSpPr>
          <p:spPr>
            <a:xfrm rot="16200000">
              <a:off x="12340014" y="3093354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  <a:t>R0 G138 B249</a:t>
              </a:r>
              <a:br>
                <a:rPr lang="en-U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</a:br>
              <a:r>
                <a:rPr lang="is-IS" sz="700" b="0">
                  <a:solidFill>
                    <a:schemeClr val="tx1"/>
                  </a:solidFill>
                  <a:latin typeface="Segoe UI" charset="0"/>
                  <a:cs typeface="Segoe UI" charset="0"/>
                </a:rPr>
                <a:t>008AF9</a:t>
              </a:r>
              <a:endParaRPr lang="en-US" sz="700" b="0">
                <a:solidFill>
                  <a:schemeClr val="tx1"/>
                </a:solidFill>
                <a:latin typeface="Segoe UI" charset="0"/>
                <a:cs typeface="Segoe UI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555B8AF-F664-4114-91EF-FDD01AB85822}"/>
              </a:ext>
            </a:extLst>
          </p:cNvPr>
          <p:cNvGrpSpPr/>
          <p:nvPr/>
        </p:nvGrpSpPr>
        <p:grpSpPr>
          <a:xfrm>
            <a:off x="13224556" y="439194"/>
            <a:ext cx="354531" cy="887798"/>
            <a:chOff x="12516569" y="1875457"/>
            <a:chExt cx="354531" cy="911749"/>
          </a:xfrm>
        </p:grpSpPr>
        <p:sp>
          <p:nvSpPr>
            <p:cNvPr id="20" name="Rectangle 19"/>
            <p:cNvSpPr/>
            <p:nvPr/>
          </p:nvSpPr>
          <p:spPr>
            <a:xfrm rot="16200000">
              <a:off x="12215084" y="2176942"/>
              <a:ext cx="911749" cy="308780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24" name="Content Placeholder 17"/>
            <p:cNvSpPr txBox="1">
              <a:spLocks/>
            </p:cNvSpPr>
            <p:nvPr/>
          </p:nvSpPr>
          <p:spPr>
            <a:xfrm rot="16200000">
              <a:off x="12340014" y="2196348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R77 G176 B255</a:t>
              </a:r>
              <a:br>
                <a:rPr lang="en-US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</a:br>
              <a:r>
                <a:rPr lang="cs-CZ" sz="700" b="0">
                  <a:solidFill>
                    <a:schemeClr val="tx2"/>
                  </a:solidFill>
                  <a:latin typeface="Segoe UI" charset="0"/>
                  <a:cs typeface="Segoe UI" charset="0"/>
                </a:rPr>
                <a:t>4DB0FF</a:t>
              </a:r>
              <a:endParaRPr lang="en-US" sz="700" b="0">
                <a:solidFill>
                  <a:schemeClr val="tx2"/>
                </a:solidFill>
                <a:latin typeface="Segoe UI" charset="0"/>
                <a:cs typeface="Segoe UI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371ED8C-D29F-4855-89B3-9562BCBD74AF}"/>
              </a:ext>
            </a:extLst>
          </p:cNvPr>
          <p:cNvGrpSpPr/>
          <p:nvPr/>
        </p:nvGrpSpPr>
        <p:grpSpPr>
          <a:xfrm>
            <a:off x="12889130" y="1352190"/>
            <a:ext cx="354532" cy="896684"/>
            <a:chOff x="12516568" y="985248"/>
            <a:chExt cx="354532" cy="896684"/>
          </a:xfrm>
        </p:grpSpPr>
        <p:sp>
          <p:nvSpPr>
            <p:cNvPr id="21" name="Rectangle 20"/>
            <p:cNvSpPr/>
            <p:nvPr/>
          </p:nvSpPr>
          <p:spPr>
            <a:xfrm rot="16200000">
              <a:off x="12222616" y="1279200"/>
              <a:ext cx="896684" cy="30878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25" name="Content Placeholder 17"/>
            <p:cNvSpPr txBox="1">
              <a:spLocks/>
            </p:cNvSpPr>
            <p:nvPr/>
          </p:nvSpPr>
          <p:spPr>
            <a:xfrm rot="16200000">
              <a:off x="12340014" y="1305019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R148 G208 B255</a:t>
              </a:r>
              <a:b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</a:b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94D0FF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6F8C03F-B065-4D7E-A94A-2F3C1CB6E429}"/>
              </a:ext>
            </a:extLst>
          </p:cNvPr>
          <p:cNvGrpSpPr/>
          <p:nvPr/>
        </p:nvGrpSpPr>
        <p:grpSpPr>
          <a:xfrm>
            <a:off x="12889130" y="436781"/>
            <a:ext cx="354531" cy="890209"/>
            <a:chOff x="12516569" y="100392"/>
            <a:chExt cx="354531" cy="890209"/>
          </a:xfrm>
        </p:grpSpPr>
        <p:sp>
          <p:nvSpPr>
            <p:cNvPr id="22" name="Rectangle 21"/>
            <p:cNvSpPr/>
            <p:nvPr/>
          </p:nvSpPr>
          <p:spPr>
            <a:xfrm rot="16200000">
              <a:off x="12225854" y="391107"/>
              <a:ext cx="890209" cy="30878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26" name="Content Placeholder 17"/>
            <p:cNvSpPr txBox="1">
              <a:spLocks/>
            </p:cNvSpPr>
            <p:nvPr/>
          </p:nvSpPr>
          <p:spPr>
            <a:xfrm rot="16200000">
              <a:off x="12340014" y="402335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R177 G214 B242</a:t>
              </a:r>
              <a:b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</a:br>
              <a:r>
                <a:rPr lang="en-US" sz="700" b="0">
                  <a:solidFill>
                    <a:schemeClr val="bg2"/>
                  </a:solidFill>
                  <a:latin typeface="Segoe UI" charset="0"/>
                  <a:cs typeface="Segoe UI" charset="0"/>
                </a:rPr>
                <a:t>B1D6F2</a:t>
              </a:r>
            </a:p>
          </p:txBody>
        </p:sp>
      </p:grp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5CFBB3EC-AC91-8E45-9E42-0DA1434795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88FC5713-112C-4B84-8881-3484EF6EAE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4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</p:sldLayoutIdLst>
  <p:txStyles>
    <p:titleStyle>
      <a:lvl1pPr marL="0" indent="0" algn="l" defTabSz="914132" rtl="0" eaLnBrk="1" latinLnBrk="0" hangingPunct="1">
        <a:lnSpc>
          <a:spcPct val="90000"/>
        </a:lnSpc>
        <a:spcBef>
          <a:spcPct val="0"/>
        </a:spcBef>
        <a:buFont typeface="Arial" charset="0"/>
        <a:buNone/>
        <a:defRPr lang="en-US" sz="4400" b="1" i="0" kern="1200" spc="-100" baseline="0">
          <a:solidFill>
            <a:schemeClr val="tx1"/>
          </a:solidFill>
          <a:latin typeface="Segoe UI Semibold" charset="0"/>
          <a:ea typeface="Segoe UI Semibold" charset="0"/>
          <a:cs typeface="Segoe UI Semibold" charset="0"/>
        </a:defRPr>
      </a:lvl1pPr>
    </p:titleStyle>
    <p:bodyStyle>
      <a:lvl1pPr marL="0" indent="0" algn="l" defTabSz="914132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Clr>
          <a:schemeClr val="bg1"/>
        </a:buClr>
        <a:buSzPct val="120000"/>
        <a:buFontTx/>
        <a:buNone/>
        <a:defRPr lang="en-US" sz="2800" b="1" i="0" kern="1200" dirty="0" smtClean="0">
          <a:solidFill>
            <a:schemeClr val="tx1"/>
          </a:solidFill>
          <a:effectLst/>
          <a:latin typeface="Segoe UI Semibold" charset="0"/>
          <a:ea typeface="Segoe UI Semibold" charset="0"/>
          <a:cs typeface="Segoe UI Semibold" charset="0"/>
        </a:defRPr>
      </a:lvl1pPr>
      <a:lvl2pPr marL="0" indent="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10000"/>
        <a:buFont typeface="Arial" charset="0"/>
        <a:buNone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2pPr>
      <a:lvl3pPr marL="288925" indent="-22225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20000"/>
        <a:buFont typeface="Arial" charset="0"/>
        <a:buChar char="•"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3pPr>
      <a:lvl4pPr marL="631825" indent="-18288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charset="0"/>
        <a:buChar char="•"/>
        <a:tabLst/>
        <a:defRPr lang="en-US" sz="18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4pPr>
      <a:lvl5pPr marL="1254125" indent="-285750" algn="l" defTabSz="914132" rtl="0" eaLnBrk="1" latinLnBrk="0" hangingPunct="1">
        <a:lnSpc>
          <a:spcPct val="100000"/>
        </a:lnSpc>
        <a:spcBef>
          <a:spcPts val="500"/>
        </a:spcBef>
        <a:buClr>
          <a:schemeClr val="bg2"/>
        </a:buClr>
        <a:buFont typeface="Arial"/>
        <a:buChar char="•"/>
        <a:defRPr lang="en-US" sz="1800" b="0" i="0" kern="1200" dirty="0">
          <a:solidFill>
            <a:schemeClr val="tx1"/>
          </a:solidFill>
          <a:effectLst/>
          <a:latin typeface="Segoe UI Light" charset="0"/>
          <a:ea typeface="+mn-ea"/>
          <a:cs typeface="Segoe UI Light" charset="0"/>
        </a:defRPr>
      </a:lvl5pPr>
      <a:lvl6pPr marL="2513861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26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92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57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7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8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9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59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2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840">
          <p15:clr>
            <a:srgbClr val="F26B43"/>
          </p15:clr>
        </p15:guide>
        <p15:guide id="7" pos="744">
          <p15:clr>
            <a:srgbClr val="C35EA4"/>
          </p15:clr>
        </p15:guide>
        <p15:guide id="8" pos="1176">
          <p15:clr>
            <a:srgbClr val="C35EA4"/>
          </p15:clr>
        </p15:guide>
        <p15:guide id="10" pos="1632">
          <p15:clr>
            <a:srgbClr val="C35EA4"/>
          </p15:clr>
        </p15:guide>
        <p15:guide id="13" pos="2520">
          <p15:clr>
            <a:srgbClr val="C35EA4"/>
          </p15:clr>
        </p15:guide>
        <p15:guide id="15" pos="2952">
          <p15:clr>
            <a:srgbClr val="C35EA4"/>
          </p15:clr>
        </p15:guide>
        <p15:guide id="16" pos="3408">
          <p15:clr>
            <a:srgbClr val="C35EA4"/>
          </p15:clr>
        </p15:guide>
        <p15:guide id="20" pos="4296">
          <p15:clr>
            <a:srgbClr val="C35EA4"/>
          </p15:clr>
        </p15:guide>
        <p15:guide id="22" pos="4728">
          <p15:clr>
            <a:srgbClr val="C35EA4"/>
          </p15:clr>
        </p15:guide>
        <p15:guide id="23" pos="5184">
          <p15:clr>
            <a:srgbClr val="C35EA4"/>
          </p15:clr>
        </p15:guide>
        <p15:guide id="24" pos="5616">
          <p15:clr>
            <a:srgbClr val="C35EA4"/>
          </p15:clr>
        </p15:guide>
        <p15:guide id="25" pos="6048">
          <p15:clr>
            <a:srgbClr val="C35EA4"/>
          </p15:clr>
        </p15:guide>
        <p15:guide id="28" pos="6504">
          <p15:clr>
            <a:srgbClr val="C35EA4"/>
          </p15:clr>
        </p15:guide>
        <p15:guide id="30" pos="6936">
          <p15:clr>
            <a:srgbClr val="C35EA4"/>
          </p15:clr>
        </p15:guide>
        <p15:guide id="32" pos="2064">
          <p15:clr>
            <a:srgbClr val="C35EA4"/>
          </p15:clr>
        </p15:guide>
        <p15:guide id="33" pos="3840">
          <p15:clr>
            <a:srgbClr val="C35EA4"/>
          </p15:clr>
        </p15:guide>
        <p15:guide id="38" orient="horz" pos="744">
          <p15:clr>
            <a:srgbClr val="F26B43"/>
          </p15:clr>
        </p15:guide>
        <p15:guide id="40" orient="horz" pos="1176">
          <p15:clr>
            <a:srgbClr val="F26B43"/>
          </p15:clr>
        </p15:guide>
        <p15:guide id="41" orient="horz" pos="1632">
          <p15:clr>
            <a:srgbClr val="F26B43"/>
          </p15:clr>
        </p15:guide>
        <p15:guide id="42" orient="horz" pos="2064">
          <p15:clr>
            <a:srgbClr val="F26B43"/>
          </p15:clr>
        </p15:guide>
        <p15:guide id="45" orient="horz" pos="2520">
          <p15:clr>
            <a:srgbClr val="F26B43"/>
          </p15:clr>
        </p15:guide>
        <p15:guide id="46" orient="horz" pos="2952">
          <p15:clr>
            <a:srgbClr val="F26B43"/>
          </p15:clr>
        </p15:guide>
        <p15:guide id="47" orient="horz" pos="4272">
          <p15:clr>
            <a:srgbClr val="F26B43"/>
          </p15:clr>
        </p15:guide>
        <p15:guide id="48" orient="horz" pos="338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48772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9240" y="963482"/>
            <a:ext cx="11653395" cy="0"/>
          </a:xfrm>
          <a:prstGeom prst="line">
            <a:avLst/>
          </a:prstGeom>
          <a:ln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5093161" y="6621827"/>
            <a:ext cx="3088814" cy="162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176">
                <a:solidFill>
                  <a:srgbClr val="000000"/>
                </a:solidFill>
              </a:rPr>
              <a:t>Microsoft Confidential    |    </a:t>
            </a:r>
            <a:fld id="{C88E7B1F-AB43-4073-8808-EF8656694B68}" type="slidenum">
              <a:rPr lang="en-US" sz="1176" smtClean="0">
                <a:solidFill>
                  <a:srgbClr val="000000"/>
                </a:solidFill>
              </a:rPr>
              <a:t>‹#›</a:t>
            </a:fld>
            <a:endParaRPr lang="en-US" sz="1176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093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</p:sldLayoutIdLst>
  <p:transition>
    <p:fade/>
  </p:transition>
  <p:hf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i="0" u="none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lang="en-US" sz="1568" kern="1200" spc="0" baseline="0" dirty="0" smtClean="0">
          <a:gradFill>
            <a:gsLst>
              <a:gs pos="1250">
                <a:schemeClr val="tx2"/>
              </a:gs>
              <a:gs pos="99000">
                <a:schemeClr val="tx2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33614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568" b="0" i="0" u="none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60241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84338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0843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2577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3/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EE2FFD-A0DC-4ADC-BDB4-B0B83E26455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793" y="5270593"/>
            <a:ext cx="2260436" cy="101297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35C3B9E-9B8F-49D2-918D-4CD03B31D0D8}"/>
              </a:ext>
            </a:extLst>
          </p:cNvPr>
          <p:cNvSpPr txBox="1"/>
          <p:nvPr userDrawn="1"/>
        </p:nvSpPr>
        <p:spPr>
          <a:xfrm>
            <a:off x="8721970" y="5718466"/>
            <a:ext cx="26376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0" i="0" spc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334368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95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7" imgW="378" imgH="379" progId="TCLayout.ActiveDocument.1">
                  <p:embed/>
                </p:oleObj>
              </mc:Choice>
              <mc:Fallback>
                <p:oleObj name="think-cell Slide" r:id="rId7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6997" y="5425"/>
            <a:ext cx="116922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9316" y="1286831"/>
            <a:ext cx="11689951" cy="202363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36486" y="6507124"/>
            <a:ext cx="555514" cy="313932"/>
          </a:xfrm>
          <a:prstGeom prst="rect">
            <a:avLst/>
          </a:prstGeom>
          <a:noFill/>
        </p:spPr>
        <p:txBody>
          <a:bodyPr wrap="square" lIns="182880" tIns="146304" rIns="91440" bIns="0" rtlCol="0" anchor="b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fld id="{7BC4BAC5-14A1-4AA6-AE96-EAA1A253B253}" type="slidenum">
              <a:rPr lang="en-US" sz="1200" smtClean="0">
                <a:solidFill>
                  <a:schemeClr val="bg1"/>
                </a:solidFill>
              </a:rPr>
              <a:pPr algn="r">
                <a:lnSpc>
                  <a:spcPct val="90000"/>
                </a:lnSpc>
                <a:spcAft>
                  <a:spcPts val="600"/>
                </a:spcAft>
              </a:pPr>
              <a:t>‹#›</a:t>
            </a:fld>
            <a:endParaRPr lang="en-US" sz="12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3885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transition>
    <p:fade/>
  </p:transition>
  <p:hf sldNum="0" hdr="0" ftr="0" dt="0"/>
  <p:txStyles>
    <p:titleStyle>
      <a:lvl1pPr algn="l" defTabSz="913355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 smtClean="0">
          <a:ln w="3175">
            <a:noFill/>
          </a:ln>
          <a:solidFill>
            <a:srgbClr val="50505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Tx/>
        <a:buNone/>
        <a:tabLst/>
        <a:defRPr sz="3600" kern="1200" spc="0" baseline="0">
          <a:solidFill>
            <a:schemeClr val="bg2"/>
          </a:solidFill>
          <a:latin typeface="+mj-lt"/>
          <a:ea typeface="+mn-ea"/>
          <a:cs typeface="+mn-cs"/>
        </a:defRPr>
      </a:lvl1pPr>
      <a:lvl2pPr marL="572058" marR="0" indent="-236285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ymbol" panose="05050102010706020507" pitchFamily="18" charset="2"/>
        <a:buChar char="-"/>
        <a:tabLst/>
        <a:defRPr sz="2400" kern="1200" spc="0" baseline="0">
          <a:solidFill>
            <a:schemeClr val="bg1"/>
          </a:solidFill>
          <a:latin typeface="+mj-lt"/>
          <a:ea typeface="+mn-ea"/>
          <a:cs typeface="+mn-cs"/>
        </a:defRPr>
      </a:lvl2pPr>
      <a:lvl3pPr marL="783471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egoe UI" panose="020B0502040204020203" pitchFamily="34" charset="0"/>
        <a:buChar char="&gt;"/>
        <a:tabLst/>
        <a:defRPr sz="2000" kern="1200" spc="0" baseline="0">
          <a:solidFill>
            <a:schemeClr val="bg1"/>
          </a:solidFill>
          <a:latin typeface="+mj-lt"/>
          <a:ea typeface="+mn-ea"/>
          <a:cs typeface="+mn-cs"/>
        </a:defRPr>
      </a:lvl3pPr>
      <a:lvl4pPr marL="1007319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Segoe UI" panose="020B0502040204020203" pitchFamily="34" charset="0"/>
        <a:buChar char="-"/>
        <a:tabLst/>
        <a:defRPr sz="1800" kern="1200" spc="0" baseline="0">
          <a:solidFill>
            <a:schemeClr val="bg1"/>
          </a:solidFill>
          <a:latin typeface="+mj-lt"/>
          <a:ea typeface="+mn-ea"/>
          <a:cs typeface="+mn-cs"/>
        </a:defRPr>
      </a:lvl4pPr>
      <a:lvl5pPr marL="1231168" marR="0" indent="-223849" algn="l" defTabSz="91335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00" kern="1200" spc="0" baseline="0">
          <a:solidFill>
            <a:schemeClr val="bg1"/>
          </a:solidFill>
          <a:latin typeface="+mj-lt"/>
          <a:ea typeface="+mn-ea"/>
          <a:cs typeface="+mn-cs"/>
        </a:defRPr>
      </a:lvl5pPr>
      <a:lvl6pPr marL="2511727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6pPr>
      <a:lvl7pPr marL="2968405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7pPr>
      <a:lvl8pPr marL="3425084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8pPr>
      <a:lvl9pPr marL="3881763" indent="-228339" algn="l" defTabSz="913355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56678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913355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70034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826712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283390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740066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196745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653423" algn="l" defTabSz="913355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4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30">
          <p15:clr>
            <a:srgbClr val="5ACBF0"/>
          </p15:clr>
        </p15:guide>
        <p15:guide id="11" pos="4204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2">
          <p15:clr>
            <a:srgbClr val="5ACBF0"/>
          </p15:clr>
        </p15:guide>
        <p15:guide id="18" orient="horz" pos="1338">
          <p15:clr>
            <a:srgbClr val="5ACBF0"/>
          </p15:clr>
        </p15:guide>
        <p15:guide id="19" orient="horz" pos="1913">
          <p15:clr>
            <a:srgbClr val="5ACBF0"/>
          </p15:clr>
        </p15:guide>
        <p15:guide id="20" orient="horz" pos="2488">
          <p15:clr>
            <a:srgbClr val="5ACBF0"/>
          </p15:clr>
        </p15:guide>
        <p15:guide id="21" orient="horz" pos="3063">
          <p15:clr>
            <a:srgbClr val="5ACBF0"/>
          </p15:clr>
        </p15:guide>
        <p15:guide id="22" orient="horz" pos="3639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099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677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952" r:id="rId2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5AD773-0F3B-4FAD-AD20-7A16C773B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30" imgW="425" imgH="424" progId="TCLayout.ActiveDocument.1">
                  <p:embed/>
                </p:oleObj>
              </mc:Choice>
              <mc:Fallback>
                <p:oleObj name="think-cell Slide" r:id="rId3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5AD773-0F3B-4FAD-AD20-7A16C773B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589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405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44810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7216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9621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20268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359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</p:sldLayoutIdLst>
  <p:transition>
    <p:fade/>
  </p:transition>
  <p:txStyles>
    <p:titleStyle>
      <a:lvl1pPr marL="0" algn="l" defTabSz="896046" rtl="0" eaLnBrk="1" latinLnBrk="0" hangingPunct="1">
        <a:lnSpc>
          <a:spcPct val="90000"/>
        </a:lnSpc>
        <a:spcBef>
          <a:spcPct val="0"/>
        </a:spcBef>
        <a:buNone/>
        <a:defRPr lang="en-US" sz="3920" b="0" i="0" u="none" kern="1200" cap="none" spc="-98" baseline="0" dirty="0">
          <a:ln w="3175">
            <a:noFill/>
          </a:ln>
          <a:gradFill>
            <a:gsLst>
              <a:gs pos="95600">
                <a:schemeClr val="tx1"/>
              </a:gs>
              <a:gs pos="0">
                <a:schemeClr val="tx1"/>
              </a:gs>
            </a:gsLst>
            <a:lin ang="0" scaled="0"/>
          </a:gradFill>
          <a:effectLst/>
          <a:latin typeface="Segoe UI Semibold" charset="0"/>
          <a:ea typeface="+mn-ea"/>
          <a:cs typeface="Segoe UI Semibold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5AD773-0F3B-4FAD-AD20-7A16C773B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27" imgW="425" imgH="424" progId="TCLayout.ActiveDocument.1">
                  <p:embed/>
                </p:oleObj>
              </mc:Choice>
              <mc:Fallback>
                <p:oleObj name="think-cell Slide" r:id="rId27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5AD773-0F3B-4FAD-AD20-7A16C773B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1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46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4011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448021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72032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96042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20053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5AD773-0F3B-4FAD-AD20-7A16C773B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5AD773-0F3B-4FAD-AD20-7A16C773B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2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312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</p:sldLayoutIdLst>
  <p:transition>
    <p:fade/>
  </p:transition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3968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6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44793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7190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95870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19838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aka.ms/certsonlearn" TargetMode="External"/><Relationship Id="rId1" Type="http://schemas.openxmlformats.org/officeDocument/2006/relationships/slideLayout" Target="../slideLayouts/slideLayout26.xml"/><Relationship Id="rId4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iff"/><Relationship Id="rId2" Type="http://schemas.openxmlformats.org/officeDocument/2006/relationships/image" Target="../media/image45.tiff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xd.adobe.com/view/fedbfbe7-1f71-4352-67a3-857ebc25dfb5-88ea/?fullscreen" TargetMode="External"/><Relationship Id="rId3" Type="http://schemas.openxmlformats.org/officeDocument/2006/relationships/image" Target="../media/image46.tiff"/><Relationship Id="rId7" Type="http://schemas.openxmlformats.org/officeDocument/2006/relationships/image" Target="../media/image50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9.tiff"/><Relationship Id="rId5" Type="http://schemas.openxmlformats.org/officeDocument/2006/relationships/image" Target="../media/image48.tiff"/><Relationship Id="rId4" Type="http://schemas.openxmlformats.org/officeDocument/2006/relationships/image" Target="../media/image47.tif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worldwidelearning.visualstudio.com/Common/_workitems/edit/530310" TargetMode="External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+mj-lt"/>
              </a:rPr>
              <a:t>Core certification experi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8B4D8-1B67-844D-AE56-ABA66B5875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6895" y="3962400"/>
            <a:ext cx="4164583" cy="63781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000">
                <a:solidFill>
                  <a:schemeClr val="tx1"/>
                </a:solidFill>
                <a:latin typeface="Segoe UI"/>
                <a:cs typeface="Segoe UI"/>
              </a:rPr>
              <a:t>User flow and design for Microsoft.com/learning</a:t>
            </a:r>
          </a:p>
          <a:p>
            <a:r>
              <a:rPr lang="en-US" sz="1000">
                <a:solidFill>
                  <a:schemeClr val="tx1"/>
                </a:solidFill>
                <a:latin typeface="Segoe UI"/>
                <a:cs typeface="Segoe UI"/>
              </a:rPr>
              <a:t>UX - WWL  I  DevRel </a:t>
            </a:r>
          </a:p>
        </p:txBody>
      </p:sp>
      <p:pic>
        <p:nvPicPr>
          <p:cNvPr id="72" name="Picture 71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7EC388A0-072C-1B48-82E2-9EA19676251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8250" y="-631318"/>
            <a:ext cx="5573750" cy="968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98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Future Microsoft certification flow </a:t>
            </a:r>
            <a:r>
              <a:rPr lang="en-US" sz="2800" err="1">
                <a:cs typeface="Segoe UI"/>
              </a:rPr>
              <a:t>microsoft.com</a:t>
            </a:r>
            <a:r>
              <a:rPr lang="en-US" sz="2800">
                <a:cs typeface="Segoe UI"/>
              </a:rPr>
              <a:t>/learn</a:t>
            </a:r>
            <a:endParaRPr lang="en-US" sz="28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C09E2B-26FB-C84A-B683-0F2AABD16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3070807"/>
            <a:ext cx="106934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65906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383" y="457200"/>
            <a:ext cx="11018520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cs typeface="Segoe UI"/>
              </a:rPr>
              <a:t>AWS and Microsoft </a:t>
            </a:r>
            <a:r>
              <a:rPr lang="en-US">
                <a:cs typeface="Segoe UI"/>
              </a:rPr>
              <a:t>Comparison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D6B32A-5CEE-614C-812A-26912EDCBBB1}"/>
              </a:ext>
            </a:extLst>
          </p:cNvPr>
          <p:cNvCxnSpPr/>
          <p:nvPr/>
        </p:nvCxnSpPr>
        <p:spPr>
          <a:xfrm>
            <a:off x="532383" y="3858639"/>
            <a:ext cx="11034073" cy="0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A8B8FEE-9E21-434C-8FDF-5DAE56F76FC6}"/>
              </a:ext>
            </a:extLst>
          </p:cNvPr>
          <p:cNvSpPr txBox="1"/>
          <p:nvPr/>
        </p:nvSpPr>
        <p:spPr>
          <a:xfrm>
            <a:off x="532383" y="1142787"/>
            <a:ext cx="36804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AWS certification flow</a:t>
            </a:r>
            <a:endParaRPr lang="en-US" sz="1400">
              <a:solidFill>
                <a:srgbClr val="0078D4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D36731-33F8-0F4C-8234-0FA33337C309}"/>
              </a:ext>
            </a:extLst>
          </p:cNvPr>
          <p:cNvSpPr txBox="1"/>
          <p:nvPr/>
        </p:nvSpPr>
        <p:spPr>
          <a:xfrm>
            <a:off x="532383" y="4173649"/>
            <a:ext cx="368047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Future Microsoft certification flow</a:t>
            </a:r>
          </a:p>
          <a:p>
            <a:pPr algn="l"/>
            <a:endParaRPr lang="en-US" sz="1400">
              <a:solidFill>
                <a:srgbClr val="0078D4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A4B0076-3615-5946-B814-08E8C2B514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83" y="4876088"/>
            <a:ext cx="10693400" cy="1257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96C0EE-FB8B-404F-9511-561A4AA0532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83" y="1532875"/>
            <a:ext cx="10909300" cy="168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2206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74032"/>
            <a:ext cx="10515600" cy="1740555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/>
                <a:cs typeface="Segoe UI"/>
              </a:rPr>
              <a:t>Designs – Content &amp;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8B4D8-1B67-844D-AE56-ABA66B587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582799"/>
            <a:ext cx="7300415" cy="66357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/>
                <a:cs typeface="Segoe UI"/>
              </a:rPr>
              <a:t>Review</a:t>
            </a:r>
          </a:p>
        </p:txBody>
      </p:sp>
    </p:spTree>
    <p:extLst>
      <p:ext uri="{BB962C8B-B14F-4D97-AF65-F5344CB8AC3E}">
        <p14:creationId xmlns:p14="http://schemas.microsoft.com/office/powerpoint/2010/main" val="2243499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cs typeface="Segoe UI"/>
              </a:rPr>
              <a:t>AWS &amp; Microsoft</a:t>
            </a:r>
            <a:r>
              <a:rPr lang="en-US">
                <a:cs typeface="Segoe UI"/>
              </a:rPr>
              <a:t> content &amp; layout comparison</a:t>
            </a:r>
            <a:endParaRPr lang="en-US" sz="2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22AA4-89D8-BB49-BFCB-8DCC63DD0B16}"/>
              </a:ext>
            </a:extLst>
          </p:cNvPr>
          <p:cNvSpPr txBox="1"/>
          <p:nvPr/>
        </p:nvSpPr>
        <p:spPr>
          <a:xfrm>
            <a:off x="8515466" y="1968560"/>
            <a:ext cx="320356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ysClr val="windowText" lastClr="000000"/>
                </a:solidFill>
              </a:rPr>
              <a:t>Notes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 b="1">
                <a:solidFill>
                  <a:sysClr val="windowText" lastClr="000000"/>
                </a:solidFill>
              </a:rPr>
              <a:t>Bias for action</a:t>
            </a:r>
          </a:p>
          <a:p>
            <a:r>
              <a:rPr lang="en-US" sz="1400">
                <a:solidFill>
                  <a:sysClr val="windowText" lastClr="000000"/>
                </a:solidFill>
              </a:rPr>
              <a:t>Allow users to quickly navigate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to products and make a decision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 i="1">
                <a:solidFill>
                  <a:sysClr val="windowText" lastClr="000000"/>
                </a:solidFill>
              </a:rPr>
              <a:t>User testing resulted in seeing people skim the Story/Messaging and immediately scroll to the Products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FA118D-4C50-9C4B-9EFF-B7AA649309B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605" y="1437259"/>
            <a:ext cx="5624322" cy="496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30843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cs typeface="Segoe UI"/>
              </a:rPr>
              <a:t>AWS</a:t>
            </a:r>
            <a:r>
              <a:rPr lang="en-US">
                <a:cs typeface="Segoe UI"/>
              </a:rPr>
              <a:t> content &amp; layout </a:t>
            </a:r>
            <a:r>
              <a:rPr lang="en-US" sz="2800">
                <a:cs typeface="Segoe UI"/>
              </a:rPr>
              <a:t>(wireframes)</a:t>
            </a:r>
            <a:endParaRPr lang="en-US" sz="2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D7F3D1-0E0B-E84B-8078-29996C66D60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1791270"/>
            <a:ext cx="11083636" cy="390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7310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D59FC-1419-894D-82B3-517F617F0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pe – Core certification p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73E20C-565C-9048-89A0-703B6FFEB7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723549"/>
          </a:xfrm>
        </p:spPr>
        <p:txBody>
          <a:bodyPr/>
          <a:lstStyle/>
          <a:p>
            <a:pPr marL="0" indent="0">
              <a:buNone/>
            </a:pPr>
            <a:r>
              <a:rPr lang="en-US" sz="1600">
                <a:latin typeface="+mn-lt"/>
              </a:rPr>
              <a:t>Pages within the Future </a:t>
            </a:r>
            <a:r>
              <a:rPr lang="en-US" sz="1600" err="1">
                <a:latin typeface="+mn-lt"/>
                <a:cs typeface="Segoe UI"/>
              </a:rPr>
              <a:t>Microsoft.com</a:t>
            </a:r>
            <a:r>
              <a:rPr lang="en-US" sz="1600">
                <a:latin typeface="+mn-lt"/>
                <a:cs typeface="Segoe UI"/>
              </a:rPr>
              <a:t>/learn core certification UX flo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Certification over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Job ro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Browse all certification path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Certification path (cert detail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Exam</a:t>
            </a:r>
            <a:endParaRPr lang="en-US" sz="1600">
              <a:latin typeface="+mn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9340CED-A876-8147-AB76-1ECF84E35F87}"/>
              </a:ext>
            </a:extLst>
          </p:cNvPr>
          <p:cNvCxnSpPr/>
          <p:nvPr/>
        </p:nvCxnSpPr>
        <p:spPr>
          <a:xfrm>
            <a:off x="584200" y="3492218"/>
            <a:ext cx="11034073" cy="0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4" descr="A close up of a sign&#10;&#10;Description generated with high confidence">
            <a:extLst>
              <a:ext uri="{FF2B5EF4-FFF2-40B4-BE49-F238E27FC236}">
                <a16:creationId xmlns:a16="http://schemas.microsoft.com/office/drawing/2014/main" id="{49F7E165-E6A3-944A-954E-B09E1D7568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9645" y="3887268"/>
            <a:ext cx="8823181" cy="22439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81A9B7D-CD37-E045-9A2D-E84D5A626C7D}"/>
              </a:ext>
            </a:extLst>
          </p:cNvPr>
          <p:cNvSpPr txBox="1"/>
          <p:nvPr/>
        </p:nvSpPr>
        <p:spPr>
          <a:xfrm>
            <a:off x="1797167" y="6185356"/>
            <a:ext cx="888642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/>
              <a:t>Diagram represents how users may inbound into Certification Overview page “front door” and how we are providing different ways users will explore certifications.</a:t>
            </a:r>
            <a:endParaRPr lang="en-US" sz="1400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7891251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FABE4B4-7EC7-4741-BE26-DEA0D782625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3484" y="1238450"/>
            <a:ext cx="3657600" cy="89001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815F2D-9528-4504-B590-CE0D517B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Certification overview</a:t>
            </a:r>
            <a:endParaRPr lang="en-US" b="1">
              <a:cs typeface="Segoe U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E4B0E1-258F-CC49-A026-D34DA250A20F}"/>
              </a:ext>
            </a:extLst>
          </p:cNvPr>
          <p:cNvSpPr txBox="1"/>
          <p:nvPr/>
        </p:nvSpPr>
        <p:spPr>
          <a:xfrm>
            <a:off x="871366" y="1701554"/>
            <a:ext cx="24166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Introduction</a:t>
            </a:r>
          </a:p>
          <a:p>
            <a:r>
              <a:rPr lang="en-US" sz="1300" i="1"/>
              <a:t>And CTA to How to &amp; Why to..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1862EC-5694-1240-9601-E885A14AE061}"/>
              </a:ext>
            </a:extLst>
          </p:cNvPr>
          <p:cNvSpPr txBox="1"/>
          <p:nvPr/>
        </p:nvSpPr>
        <p:spPr>
          <a:xfrm>
            <a:off x="9340569" y="2512850"/>
            <a:ext cx="206883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Job roles &amp; special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DE3F7D-EA6A-D841-BBD7-354859D3121B}"/>
              </a:ext>
            </a:extLst>
          </p:cNvPr>
          <p:cNvSpPr txBox="1"/>
          <p:nvPr/>
        </p:nvSpPr>
        <p:spPr>
          <a:xfrm>
            <a:off x="9355168" y="5481269"/>
            <a:ext cx="24531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/>
              <a:t>How to &amp; Why to...</a:t>
            </a:r>
          </a:p>
          <a:p>
            <a:r>
              <a:rPr lang="en-US" sz="1300" i="1"/>
              <a:t>Certification value prop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BD83F02-DDCD-D743-A7A1-22F14113E2F6}"/>
              </a:ext>
            </a:extLst>
          </p:cNvPr>
          <p:cNvCxnSpPr>
            <a:cxnSpLocks/>
          </p:cNvCxnSpPr>
          <p:nvPr/>
        </p:nvCxnSpPr>
        <p:spPr>
          <a:xfrm flipH="1">
            <a:off x="8170137" y="2674432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EF34E2B3-0B6D-CA4E-B512-5D78D14CA124}"/>
              </a:ext>
            </a:extLst>
          </p:cNvPr>
          <p:cNvCxnSpPr>
            <a:cxnSpLocks/>
          </p:cNvCxnSpPr>
          <p:nvPr/>
        </p:nvCxnSpPr>
        <p:spPr>
          <a:xfrm rot="5400000">
            <a:off x="6383128" y="7371828"/>
            <a:ext cx="4432490" cy="651373"/>
          </a:xfrm>
          <a:prstGeom prst="bentConnector3">
            <a:avLst>
              <a:gd name="adj1" fmla="val 99945"/>
            </a:avLst>
          </a:prstGeom>
          <a:ln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4FB6D7E-C12A-2E44-9249-96D355E0A61F}"/>
              </a:ext>
            </a:extLst>
          </p:cNvPr>
          <p:cNvCxnSpPr>
            <a:cxnSpLocks/>
          </p:cNvCxnSpPr>
          <p:nvPr/>
        </p:nvCxnSpPr>
        <p:spPr>
          <a:xfrm flipH="1">
            <a:off x="8170137" y="5481269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A0EB061-A389-934A-A982-87B7061B7C45}"/>
              </a:ext>
            </a:extLst>
          </p:cNvPr>
          <p:cNvCxnSpPr>
            <a:cxnSpLocks/>
          </p:cNvCxnSpPr>
          <p:nvPr/>
        </p:nvCxnSpPr>
        <p:spPr>
          <a:xfrm>
            <a:off x="3341722" y="1839218"/>
            <a:ext cx="5765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6E4043C-84B2-BA4B-9351-EAD3C2259B82}"/>
              </a:ext>
            </a:extLst>
          </p:cNvPr>
          <p:cNvSpPr txBox="1"/>
          <p:nvPr/>
        </p:nvSpPr>
        <p:spPr>
          <a:xfrm>
            <a:off x="796809" y="3438468"/>
            <a:ext cx="20214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Certification structure</a:t>
            </a:r>
          </a:p>
          <a:p>
            <a:r>
              <a:rPr lang="en-US" sz="1300" i="1"/>
              <a:t>Certification hierarchy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6FD2EF4-5B89-484F-8FB1-EE1CB36CCEC5}"/>
              </a:ext>
            </a:extLst>
          </p:cNvPr>
          <p:cNvCxnSpPr>
            <a:cxnSpLocks/>
          </p:cNvCxnSpPr>
          <p:nvPr/>
        </p:nvCxnSpPr>
        <p:spPr>
          <a:xfrm>
            <a:off x="3287990" y="3612227"/>
            <a:ext cx="6303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AB5C74A-F37E-5A48-B21F-8BC4CCFE1CF0}"/>
              </a:ext>
            </a:extLst>
          </p:cNvPr>
          <p:cNvSpPr txBox="1"/>
          <p:nvPr/>
        </p:nvSpPr>
        <p:spPr>
          <a:xfrm>
            <a:off x="9355168" y="3901728"/>
            <a:ext cx="2504596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Featured certification paths</a:t>
            </a:r>
          </a:p>
          <a:p>
            <a:r>
              <a:rPr lang="en-US" sz="1300" i="1"/>
              <a:t>Popular, strategic, </a:t>
            </a:r>
            <a:br>
              <a:rPr lang="en-US" sz="1300" i="1"/>
            </a:br>
            <a:r>
              <a:rPr lang="en-US" sz="1300" i="1"/>
              <a:t>recommended, new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B6383FD-9D95-4C44-89F7-48D64BCDA42F}"/>
              </a:ext>
            </a:extLst>
          </p:cNvPr>
          <p:cNvCxnSpPr>
            <a:cxnSpLocks/>
          </p:cNvCxnSpPr>
          <p:nvPr/>
        </p:nvCxnSpPr>
        <p:spPr>
          <a:xfrm flipH="1">
            <a:off x="8184736" y="4063310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84CBD4E-E78B-2248-8EF8-0C0CF7B505BD}"/>
              </a:ext>
            </a:extLst>
          </p:cNvPr>
          <p:cNvSpPr txBox="1"/>
          <p:nvPr/>
        </p:nvSpPr>
        <p:spPr>
          <a:xfrm>
            <a:off x="780767" y="4668054"/>
            <a:ext cx="26791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Learning resources</a:t>
            </a:r>
          </a:p>
          <a:p>
            <a:r>
              <a:rPr lang="en-US" sz="1300" i="1"/>
              <a:t>Shortcuts to learning partners,</a:t>
            </a:r>
          </a:p>
          <a:p>
            <a:r>
              <a:rPr lang="en-US" sz="1300" i="1"/>
              <a:t>community, and exam registration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18B891E-BA3F-5845-878C-CEFCF27D54CC}"/>
              </a:ext>
            </a:extLst>
          </p:cNvPr>
          <p:cNvCxnSpPr>
            <a:cxnSpLocks/>
          </p:cNvCxnSpPr>
          <p:nvPr/>
        </p:nvCxnSpPr>
        <p:spPr>
          <a:xfrm>
            <a:off x="3287990" y="4841813"/>
            <a:ext cx="6142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3238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FABE4B4-7EC7-4741-BE26-DEA0D782625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7914" y="1190967"/>
            <a:ext cx="3657600" cy="503428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815F2D-9528-4504-B590-CE0D517B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Job role</a:t>
            </a:r>
            <a:endParaRPr lang="en-US" b="1">
              <a:cs typeface="Segoe U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E4B0E1-258F-CC49-A026-D34DA250A20F}"/>
              </a:ext>
            </a:extLst>
          </p:cNvPr>
          <p:cNvSpPr txBox="1"/>
          <p:nvPr/>
        </p:nvSpPr>
        <p:spPr>
          <a:xfrm>
            <a:off x="871366" y="1507458"/>
            <a:ext cx="2049600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Introduction</a:t>
            </a:r>
          </a:p>
          <a:p>
            <a:r>
              <a:rPr lang="en-US" sz="1300" i="1"/>
              <a:t>And CTA to “Become a ….”</a:t>
            </a:r>
            <a:br>
              <a:rPr lang="en-US" sz="1300" i="1"/>
            </a:br>
            <a:r>
              <a:rPr lang="en-US" sz="1300" i="1"/>
              <a:t>(bottom of the pag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1862EC-5694-1240-9601-E885A14AE061}"/>
              </a:ext>
            </a:extLst>
          </p:cNvPr>
          <p:cNvSpPr txBox="1"/>
          <p:nvPr/>
        </p:nvSpPr>
        <p:spPr>
          <a:xfrm>
            <a:off x="9340569" y="2281632"/>
            <a:ext cx="234750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Job role certification path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BD83F02-DDCD-D743-A7A1-22F14113E2F6}"/>
              </a:ext>
            </a:extLst>
          </p:cNvPr>
          <p:cNvCxnSpPr>
            <a:cxnSpLocks/>
          </p:cNvCxnSpPr>
          <p:nvPr/>
        </p:nvCxnSpPr>
        <p:spPr>
          <a:xfrm flipH="1">
            <a:off x="8170137" y="2443214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A0EB061-A389-934A-A982-87B7061B7C45}"/>
              </a:ext>
            </a:extLst>
          </p:cNvPr>
          <p:cNvCxnSpPr>
            <a:cxnSpLocks/>
          </p:cNvCxnSpPr>
          <p:nvPr/>
        </p:nvCxnSpPr>
        <p:spPr>
          <a:xfrm>
            <a:off x="3341722" y="1645122"/>
            <a:ext cx="5765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6E4043C-84B2-BA4B-9351-EAD3C2259B82}"/>
              </a:ext>
            </a:extLst>
          </p:cNvPr>
          <p:cNvSpPr txBox="1"/>
          <p:nvPr/>
        </p:nvSpPr>
        <p:spPr>
          <a:xfrm>
            <a:off x="796809" y="2878615"/>
            <a:ext cx="1581330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Certifications</a:t>
            </a:r>
          </a:p>
          <a:p>
            <a:r>
              <a:rPr lang="en-US" sz="1300" i="1"/>
              <a:t>Based on job role +</a:t>
            </a:r>
          </a:p>
          <a:p>
            <a:r>
              <a:rPr lang="en-US" sz="1300" i="1"/>
              <a:t>Sorting by level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6FD2EF4-5B89-484F-8FB1-EE1CB36CCEC5}"/>
              </a:ext>
            </a:extLst>
          </p:cNvPr>
          <p:cNvCxnSpPr>
            <a:cxnSpLocks/>
          </p:cNvCxnSpPr>
          <p:nvPr/>
        </p:nvCxnSpPr>
        <p:spPr>
          <a:xfrm>
            <a:off x="3287990" y="3052374"/>
            <a:ext cx="6303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AB5C74A-F37E-5A48-B21F-8BC4CCFE1CF0}"/>
              </a:ext>
            </a:extLst>
          </p:cNvPr>
          <p:cNvSpPr txBox="1"/>
          <p:nvPr/>
        </p:nvSpPr>
        <p:spPr>
          <a:xfrm>
            <a:off x="9355167" y="3687891"/>
            <a:ext cx="22516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/>
              <a:t>Certification</a:t>
            </a:r>
          </a:p>
          <a:p>
            <a:r>
              <a:rPr lang="en-US" sz="1300" i="1"/>
              <a:t>Badge, title, skills meta, description, call to action, path preview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B6383FD-9D95-4C44-89F7-48D64BCDA42F}"/>
              </a:ext>
            </a:extLst>
          </p:cNvPr>
          <p:cNvCxnSpPr>
            <a:cxnSpLocks/>
          </p:cNvCxnSpPr>
          <p:nvPr/>
        </p:nvCxnSpPr>
        <p:spPr>
          <a:xfrm flipH="1">
            <a:off x="8184736" y="3849473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84CBD4E-E78B-2248-8EF8-0C0CF7B505BD}"/>
              </a:ext>
            </a:extLst>
          </p:cNvPr>
          <p:cNvSpPr txBox="1"/>
          <p:nvPr/>
        </p:nvSpPr>
        <p:spPr>
          <a:xfrm>
            <a:off x="9340569" y="5361746"/>
            <a:ext cx="211442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Job resources</a:t>
            </a:r>
          </a:p>
          <a:p>
            <a:r>
              <a:rPr lang="en-US" sz="1300" i="1"/>
              <a:t>Job listings, docs resources,</a:t>
            </a:r>
          </a:p>
          <a:p>
            <a:r>
              <a:rPr lang="en-US" sz="1300" i="1"/>
              <a:t>commun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CBDCA-A2B6-A34B-A44D-4F2FD3DA9529}"/>
              </a:ext>
            </a:extLst>
          </p:cNvPr>
          <p:cNvSpPr txBox="1"/>
          <p:nvPr/>
        </p:nvSpPr>
        <p:spPr>
          <a:xfrm>
            <a:off x="768894" y="4988904"/>
            <a:ext cx="185063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Become a {job role}</a:t>
            </a:r>
          </a:p>
          <a:p>
            <a:r>
              <a:rPr lang="en-US" sz="1300" i="1" err="1"/>
              <a:t>Linkedin</a:t>
            </a:r>
            <a:r>
              <a:rPr lang="en-US" sz="1300" i="1"/>
              <a:t> assets, salary, </a:t>
            </a:r>
            <a:br>
              <a:rPr lang="en-US" sz="1300" i="1"/>
            </a:br>
            <a:r>
              <a:rPr lang="en-US" sz="1300" i="1"/>
              <a:t>testimonial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173C554-B208-684B-A4B0-4E520480F568}"/>
              </a:ext>
            </a:extLst>
          </p:cNvPr>
          <p:cNvCxnSpPr>
            <a:cxnSpLocks/>
          </p:cNvCxnSpPr>
          <p:nvPr/>
        </p:nvCxnSpPr>
        <p:spPr>
          <a:xfrm flipH="1">
            <a:off x="8170136" y="5780291"/>
            <a:ext cx="7403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6DF4988-347D-A44F-8323-3E15815EE4E8}"/>
              </a:ext>
            </a:extLst>
          </p:cNvPr>
          <p:cNvCxnSpPr>
            <a:cxnSpLocks/>
          </p:cNvCxnSpPr>
          <p:nvPr/>
        </p:nvCxnSpPr>
        <p:spPr>
          <a:xfrm>
            <a:off x="3287990" y="5165546"/>
            <a:ext cx="6303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191507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7980FAA1-4894-F04E-B476-EB0014E3E9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0361" y="1207662"/>
            <a:ext cx="3657600" cy="69215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815F2D-9528-4504-B590-CE0D517B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Segoe UI"/>
              </a:rPr>
              <a:t>Certification path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413013D-822F-AE4F-A85E-258FDB65F8E2}"/>
              </a:ext>
            </a:extLst>
          </p:cNvPr>
          <p:cNvSpPr txBox="1"/>
          <p:nvPr/>
        </p:nvSpPr>
        <p:spPr>
          <a:xfrm>
            <a:off x="815141" y="1484735"/>
            <a:ext cx="20733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/>
              <a:t>Introduction </a:t>
            </a:r>
            <a:br>
              <a:rPr lang="en-US" sz="1500"/>
            </a:br>
            <a:r>
              <a:rPr lang="en-US" sz="1300" i="1"/>
              <a:t>Requirements, metadata, badge, shortcut to first </a:t>
            </a:r>
            <a:br>
              <a:rPr lang="en-US" sz="1300" i="1"/>
            </a:br>
            <a:r>
              <a:rPr lang="en-US" sz="1300" i="1"/>
              <a:t>learning pat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C90B4F-2461-6842-AAE8-C0123DE25A4D}"/>
              </a:ext>
            </a:extLst>
          </p:cNvPr>
          <p:cNvSpPr txBox="1"/>
          <p:nvPr/>
        </p:nvSpPr>
        <p:spPr>
          <a:xfrm>
            <a:off x="815141" y="2722654"/>
            <a:ext cx="1916294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Recommended Start</a:t>
            </a:r>
          </a:p>
          <a:p>
            <a:r>
              <a:rPr lang="en-US" sz="1300" i="1"/>
              <a:t>Fundamentals and/or </a:t>
            </a:r>
            <a:br>
              <a:rPr lang="en-US" sz="1300" i="1"/>
            </a:br>
            <a:r>
              <a:rPr lang="en-US" sz="1300" i="1"/>
              <a:t>Prerequisit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93587ED-B0FB-DD43-A85E-DF1B217C1E46}"/>
              </a:ext>
            </a:extLst>
          </p:cNvPr>
          <p:cNvSpPr txBox="1"/>
          <p:nvPr/>
        </p:nvSpPr>
        <p:spPr>
          <a:xfrm>
            <a:off x="9058185" y="5175584"/>
            <a:ext cx="22533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Exam(s)</a:t>
            </a:r>
          </a:p>
          <a:p>
            <a:r>
              <a:rPr lang="en-US" sz="1300" i="1"/>
              <a:t>Registration</a:t>
            </a:r>
          </a:p>
          <a:p>
            <a:r>
              <a:rPr lang="en-US" sz="1300" i="1"/>
              <a:t>Practice tests</a:t>
            </a:r>
          </a:p>
          <a:p>
            <a:r>
              <a:rPr lang="en-US" sz="1300" i="1" err="1"/>
              <a:t>docs.microsoft.com</a:t>
            </a:r>
            <a:r>
              <a:rPr lang="en-US" sz="1300" i="1"/>
              <a:t> resourc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D04AEAB-F478-EF4B-AEFC-A606151C9581}"/>
              </a:ext>
            </a:extLst>
          </p:cNvPr>
          <p:cNvSpPr txBox="1"/>
          <p:nvPr/>
        </p:nvSpPr>
        <p:spPr>
          <a:xfrm>
            <a:off x="9019685" y="4402492"/>
            <a:ext cx="23255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Learning paths</a:t>
            </a:r>
          </a:p>
          <a:p>
            <a:r>
              <a:rPr lang="en-US" sz="1300" i="1"/>
              <a:t>Badge, time, skills, description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F4B8662-BFB3-874B-AF9E-4107F9F4293F}"/>
              </a:ext>
            </a:extLst>
          </p:cNvPr>
          <p:cNvCxnSpPr>
            <a:cxnSpLocks/>
          </p:cNvCxnSpPr>
          <p:nvPr/>
        </p:nvCxnSpPr>
        <p:spPr>
          <a:xfrm flipH="1">
            <a:off x="7999153" y="4551420"/>
            <a:ext cx="818541" cy="88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138FB12-209E-EE4F-998D-2B0DB21CAE0E}"/>
              </a:ext>
            </a:extLst>
          </p:cNvPr>
          <p:cNvSpPr txBox="1"/>
          <p:nvPr/>
        </p:nvSpPr>
        <p:spPr>
          <a:xfrm>
            <a:off x="815141" y="4406802"/>
            <a:ext cx="20353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Instructor-led training</a:t>
            </a:r>
          </a:p>
          <a:p>
            <a:r>
              <a:rPr lang="en-US" sz="1300" i="1"/>
              <a:t>Link to filtered course lis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58FEB4A-C02B-7441-A701-8A42902071AA}"/>
              </a:ext>
            </a:extLst>
          </p:cNvPr>
          <p:cNvCxnSpPr>
            <a:cxnSpLocks/>
          </p:cNvCxnSpPr>
          <p:nvPr/>
        </p:nvCxnSpPr>
        <p:spPr>
          <a:xfrm>
            <a:off x="3363987" y="1713984"/>
            <a:ext cx="5397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181D706-D17C-E94E-A0C7-E16E83AD5E86}"/>
              </a:ext>
            </a:extLst>
          </p:cNvPr>
          <p:cNvSpPr txBox="1"/>
          <p:nvPr/>
        </p:nvSpPr>
        <p:spPr>
          <a:xfrm>
            <a:off x="9068199" y="2461044"/>
            <a:ext cx="27874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Certification path</a:t>
            </a:r>
          </a:p>
          <a:p>
            <a:r>
              <a:rPr lang="en-US" sz="1300" i="1"/>
              <a:t>Visualize prerequisites, skills, exam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3EE67BB9-5CB2-E44C-BFD5-F996EB0524A3}"/>
              </a:ext>
            </a:extLst>
          </p:cNvPr>
          <p:cNvCxnSpPr>
            <a:cxnSpLocks/>
            <a:stCxn id="47" idx="1"/>
          </p:cNvCxnSpPr>
          <p:nvPr/>
        </p:nvCxnSpPr>
        <p:spPr>
          <a:xfrm flipH="1">
            <a:off x="8037655" y="2722654"/>
            <a:ext cx="10305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38EF375C-F900-3542-90C6-851DA2D833AF}"/>
              </a:ext>
            </a:extLst>
          </p:cNvPr>
          <p:cNvSpPr txBox="1"/>
          <p:nvPr/>
        </p:nvSpPr>
        <p:spPr>
          <a:xfrm>
            <a:off x="815141" y="5601939"/>
            <a:ext cx="20733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Certification resources</a:t>
            </a:r>
          </a:p>
          <a:p>
            <a:r>
              <a:rPr lang="en-US" sz="1300" i="1"/>
              <a:t>Infographics/Diagrams</a:t>
            </a:r>
          </a:p>
          <a:p>
            <a:r>
              <a:rPr lang="en-US" sz="1300" i="1"/>
              <a:t>Documents</a:t>
            </a:r>
          </a:p>
          <a:p>
            <a:r>
              <a:rPr lang="en-US" sz="1300" i="1"/>
              <a:t>Community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AC84E90-ABEA-784F-957B-3E66EEB5EF03}"/>
              </a:ext>
            </a:extLst>
          </p:cNvPr>
          <p:cNvCxnSpPr>
            <a:cxnSpLocks/>
          </p:cNvCxnSpPr>
          <p:nvPr/>
        </p:nvCxnSpPr>
        <p:spPr>
          <a:xfrm>
            <a:off x="3030902" y="5791797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F71B568-EDE1-2E46-A04D-7FA56DDFBC95}"/>
              </a:ext>
            </a:extLst>
          </p:cNvPr>
          <p:cNvCxnSpPr>
            <a:cxnSpLocks/>
          </p:cNvCxnSpPr>
          <p:nvPr/>
        </p:nvCxnSpPr>
        <p:spPr>
          <a:xfrm>
            <a:off x="3060398" y="4608294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0DC173C-EB8D-1940-9DB9-D37D58EC8707}"/>
              </a:ext>
            </a:extLst>
          </p:cNvPr>
          <p:cNvCxnSpPr>
            <a:cxnSpLocks/>
          </p:cNvCxnSpPr>
          <p:nvPr/>
        </p:nvCxnSpPr>
        <p:spPr>
          <a:xfrm flipH="1">
            <a:off x="7999153" y="5377668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C6CF196-61E7-9443-8161-EF17E7662D6F}"/>
              </a:ext>
            </a:extLst>
          </p:cNvPr>
          <p:cNvCxnSpPr>
            <a:cxnSpLocks/>
          </p:cNvCxnSpPr>
          <p:nvPr/>
        </p:nvCxnSpPr>
        <p:spPr>
          <a:xfrm>
            <a:off x="3060398" y="2900252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18019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7627760-324A-0C4C-90BE-92C7788846C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4620" y="1196914"/>
            <a:ext cx="3657600" cy="55727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815F2D-9528-4504-B590-CE0D517B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Segoe UI"/>
              </a:rPr>
              <a:t>Exa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413013D-822F-AE4F-A85E-258FDB65F8E2}"/>
              </a:ext>
            </a:extLst>
          </p:cNvPr>
          <p:cNvSpPr txBox="1"/>
          <p:nvPr/>
        </p:nvSpPr>
        <p:spPr>
          <a:xfrm>
            <a:off x="828116" y="1448987"/>
            <a:ext cx="1424814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Introduction </a:t>
            </a:r>
            <a:br>
              <a:rPr lang="en-US" sz="1500"/>
            </a:br>
            <a:r>
              <a:rPr lang="en-US" sz="1300" i="1"/>
              <a:t>Requirements,</a:t>
            </a:r>
          </a:p>
          <a:p>
            <a:r>
              <a:rPr lang="en-US" sz="1300" i="1"/>
              <a:t>metadata, badg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93587ED-B0FB-DD43-A85E-DF1B217C1E46}"/>
              </a:ext>
            </a:extLst>
          </p:cNvPr>
          <p:cNvSpPr txBox="1"/>
          <p:nvPr/>
        </p:nvSpPr>
        <p:spPr>
          <a:xfrm>
            <a:off x="9165957" y="2848208"/>
            <a:ext cx="2253309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/>
              <a:t>Exam resources</a:t>
            </a:r>
          </a:p>
          <a:p>
            <a:r>
              <a:rPr lang="en-US" sz="1300" i="1"/>
              <a:t>Practice tests</a:t>
            </a:r>
          </a:p>
          <a:p>
            <a:r>
              <a:rPr lang="en-US" sz="1300" i="1" err="1"/>
              <a:t>docs.microsoft.com</a:t>
            </a:r>
            <a:r>
              <a:rPr lang="en-US" sz="1300" i="1"/>
              <a:t> resourc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BC20A46-A9CD-CB48-8678-BE2DDAD32EEC}"/>
              </a:ext>
            </a:extLst>
          </p:cNvPr>
          <p:cNvSpPr txBox="1"/>
          <p:nvPr/>
        </p:nvSpPr>
        <p:spPr>
          <a:xfrm>
            <a:off x="9165957" y="2208434"/>
            <a:ext cx="16097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Exam </a:t>
            </a:r>
          </a:p>
          <a:p>
            <a:r>
              <a:rPr lang="en-US" sz="1300" i="1"/>
              <a:t>metadata, schedule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BE71A14-6CC1-394D-932E-A96529F8550C}"/>
              </a:ext>
            </a:extLst>
          </p:cNvPr>
          <p:cNvCxnSpPr>
            <a:cxnSpLocks/>
          </p:cNvCxnSpPr>
          <p:nvPr/>
        </p:nvCxnSpPr>
        <p:spPr>
          <a:xfrm flipH="1">
            <a:off x="8100457" y="2371526"/>
            <a:ext cx="7663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7D04AEAB-F478-EF4B-AEFC-A606151C9581}"/>
              </a:ext>
            </a:extLst>
          </p:cNvPr>
          <p:cNvSpPr txBox="1"/>
          <p:nvPr/>
        </p:nvSpPr>
        <p:spPr>
          <a:xfrm>
            <a:off x="828116" y="2549406"/>
            <a:ext cx="1499898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Learning paths</a:t>
            </a:r>
          </a:p>
          <a:p>
            <a:r>
              <a:rPr lang="en-US" sz="1300" i="1"/>
              <a:t>Badge, time, skills,</a:t>
            </a:r>
            <a:br>
              <a:rPr lang="en-US" sz="1300" i="1"/>
            </a:br>
            <a:r>
              <a:rPr lang="en-US" sz="1300" i="1"/>
              <a:t>descrip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138FB12-209E-EE4F-998D-2B0DB21CAE0E}"/>
              </a:ext>
            </a:extLst>
          </p:cNvPr>
          <p:cNvSpPr txBox="1"/>
          <p:nvPr/>
        </p:nvSpPr>
        <p:spPr>
          <a:xfrm>
            <a:off x="9225876" y="5163220"/>
            <a:ext cx="18270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Related Resources</a:t>
            </a:r>
          </a:p>
          <a:p>
            <a:r>
              <a:rPr lang="en-US" sz="1300" i="1"/>
              <a:t>Infographics/Diagrams</a:t>
            </a:r>
          </a:p>
          <a:p>
            <a:r>
              <a:rPr lang="en-US" sz="1300" i="1"/>
              <a:t>Documents</a:t>
            </a:r>
          </a:p>
          <a:p>
            <a:r>
              <a:rPr lang="en-US" sz="1300" i="1"/>
              <a:t>Community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58FEB4A-C02B-7441-A701-8A42902071AA}"/>
              </a:ext>
            </a:extLst>
          </p:cNvPr>
          <p:cNvCxnSpPr>
            <a:cxnSpLocks/>
          </p:cNvCxnSpPr>
          <p:nvPr/>
        </p:nvCxnSpPr>
        <p:spPr>
          <a:xfrm>
            <a:off x="3082344" y="1725986"/>
            <a:ext cx="8743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4DF9FC37-060E-ED4E-954F-07F77723D2EA}"/>
              </a:ext>
            </a:extLst>
          </p:cNvPr>
          <p:cNvSpPr txBox="1"/>
          <p:nvPr/>
        </p:nvSpPr>
        <p:spPr>
          <a:xfrm>
            <a:off x="726262" y="5280471"/>
            <a:ext cx="1954702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Related certifications</a:t>
            </a:r>
          </a:p>
          <a:p>
            <a:r>
              <a:rPr lang="en-US" sz="1300" i="1"/>
              <a:t>Certifications this exam</a:t>
            </a:r>
            <a:br>
              <a:rPr lang="en-US" sz="1300" i="1"/>
            </a:br>
            <a:r>
              <a:rPr lang="en-US" sz="1300" i="1"/>
              <a:t>validate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705DDAC-5D69-5449-9756-320E3FD6A797}"/>
              </a:ext>
            </a:extLst>
          </p:cNvPr>
          <p:cNvCxnSpPr>
            <a:cxnSpLocks/>
          </p:cNvCxnSpPr>
          <p:nvPr/>
        </p:nvCxnSpPr>
        <p:spPr>
          <a:xfrm flipH="1">
            <a:off x="8140563" y="3061732"/>
            <a:ext cx="72623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8A94B70-D5CA-B841-9C8E-DB3B1706141F}"/>
              </a:ext>
            </a:extLst>
          </p:cNvPr>
          <p:cNvCxnSpPr>
            <a:cxnSpLocks/>
          </p:cNvCxnSpPr>
          <p:nvPr/>
        </p:nvCxnSpPr>
        <p:spPr>
          <a:xfrm flipH="1">
            <a:off x="8159644" y="5420076"/>
            <a:ext cx="883715" cy="788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20A9DAB4-103E-9741-81D8-A6AC52C3CE12}"/>
              </a:ext>
            </a:extLst>
          </p:cNvPr>
          <p:cNvSpPr txBox="1"/>
          <p:nvPr/>
        </p:nvSpPr>
        <p:spPr>
          <a:xfrm>
            <a:off x="828116" y="3667840"/>
            <a:ext cx="20353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Instructor-led training</a:t>
            </a:r>
          </a:p>
          <a:p>
            <a:r>
              <a:rPr lang="en-US" sz="1300" i="1"/>
              <a:t>Link to filtered course list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AB51C76-80E9-D44D-9B9F-EDFA7141C4FA}"/>
              </a:ext>
            </a:extLst>
          </p:cNvPr>
          <p:cNvCxnSpPr>
            <a:cxnSpLocks/>
          </p:cNvCxnSpPr>
          <p:nvPr/>
        </p:nvCxnSpPr>
        <p:spPr>
          <a:xfrm>
            <a:off x="2968443" y="3869332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1502214-C055-C342-8EBF-A483E98B13EB}"/>
              </a:ext>
            </a:extLst>
          </p:cNvPr>
          <p:cNvCxnSpPr>
            <a:cxnSpLocks/>
          </p:cNvCxnSpPr>
          <p:nvPr/>
        </p:nvCxnSpPr>
        <p:spPr>
          <a:xfrm>
            <a:off x="2968443" y="2748828"/>
            <a:ext cx="988968" cy="9786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DB0299D-D66C-BD4E-95AB-D1DB1CC1897C}"/>
              </a:ext>
            </a:extLst>
          </p:cNvPr>
          <p:cNvCxnSpPr>
            <a:cxnSpLocks/>
          </p:cNvCxnSpPr>
          <p:nvPr/>
        </p:nvCxnSpPr>
        <p:spPr>
          <a:xfrm>
            <a:off x="3082344" y="5420076"/>
            <a:ext cx="8743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33425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74B358-2721-4ECC-ACF8-25D309631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What we will cover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2B6EA8-AC02-4417-9830-BEDCAD1CD2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4422932" cy="3809056"/>
          </a:xfr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107000"/>
              </a:lnSpc>
              <a:spcBef>
                <a:spcPts val="0"/>
              </a:spcBef>
            </a:pPr>
            <a:r>
              <a:rPr lang="en-US" sz="1600" b="1">
                <a:latin typeface="+mn-lt"/>
                <a:cs typeface="Segoe UI"/>
              </a:rPr>
              <a:t>Over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Go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Con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User flows – Decision tre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Design – Content &amp; lay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Design</a:t>
            </a:r>
            <a:r>
              <a:rPr lang="en-US" sz="1600">
                <a:cs typeface="Segoe UI"/>
              </a:rPr>
              <a:t> –</a:t>
            </a:r>
            <a:r>
              <a:rPr lang="en-US" sz="1600">
                <a:latin typeface="+mn-lt"/>
                <a:cs typeface="Segoe UI"/>
              </a:rPr>
              <a:t> Proto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latin typeface="+mn-lt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latin typeface="+mn-lt"/>
              <a:cs typeface="Segoe UI"/>
            </a:endParaRPr>
          </a:p>
          <a:p>
            <a:r>
              <a:rPr lang="en-US" sz="1600" b="1">
                <a:latin typeface="+mn-lt"/>
                <a:cs typeface="Segoe UI"/>
              </a:rPr>
              <a:t>Append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Competitive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/>
              </a:rPr>
              <a:t>User stu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Transitional designs</a:t>
            </a: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latin typeface="+mn-lt"/>
              <a:cs typeface="Segoe UI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9FA9111-FF2E-CA47-8DFB-76E115D6D00B}"/>
              </a:ext>
            </a:extLst>
          </p:cNvPr>
          <p:cNvSpPr txBox="1">
            <a:spLocks/>
          </p:cNvSpPr>
          <p:nvPr/>
        </p:nvSpPr>
        <p:spPr>
          <a:xfrm>
            <a:off x="8523798" y="1438830"/>
            <a:ext cx="2932880" cy="32808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Related items are currently </a:t>
            </a:r>
            <a:b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underway but not ready to present.</a:t>
            </a:r>
          </a:p>
          <a:p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+mn-lt"/>
                <a:cs typeface="Segoe UI"/>
              </a:rPr>
              <a:t>ILT cour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+mn-lt"/>
                <a:cs typeface="Segoe UI"/>
              </a:rPr>
              <a:t>Part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+mn-lt"/>
                <a:cs typeface="Segoe UI"/>
              </a:rPr>
              <a:t>Dashboard/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+mn-lt"/>
                <a:cs typeface="Segoe UI"/>
              </a:rPr>
              <a:t>Homepage &amp; entry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latin typeface="+mn-lt"/>
              <a:cs typeface="Segoe UI"/>
            </a:endParaRPr>
          </a:p>
          <a:p>
            <a:r>
              <a:rPr lang="en-US" sz="1400" b="1" i="1">
                <a:latin typeface="+mn-lt"/>
                <a:cs typeface="Segoe UI"/>
              </a:rPr>
              <a:t>See Appendix for detailed list of </a:t>
            </a:r>
            <a:br>
              <a:rPr lang="en-US" sz="1400" b="1" i="1">
                <a:latin typeface="+mn-lt"/>
                <a:cs typeface="Segoe UI"/>
              </a:rPr>
            </a:br>
            <a:r>
              <a:rPr lang="en-US" sz="1400" b="1" i="1">
                <a:latin typeface="+mn-lt"/>
                <a:cs typeface="Segoe UI"/>
              </a:rPr>
              <a:t>co-UX work 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i="1">
              <a:latin typeface="+mn-lt"/>
              <a:cs typeface="Segoe UI"/>
            </a:endParaRPr>
          </a:p>
          <a:p>
            <a:endParaRPr lang="en-US" sz="1200">
              <a:latin typeface="+mn-lt"/>
              <a:cs typeface="Segoe UI"/>
            </a:endParaRPr>
          </a:p>
          <a:p>
            <a:endParaRPr lang="en-US" sz="1200">
              <a:latin typeface="+mn-lt"/>
              <a:cs typeface="Segoe U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b="1">
              <a:latin typeface="+mn-lt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94964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2BCF8B-ADA8-B74F-9384-9FC214FE83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7200" y="1423940"/>
            <a:ext cx="3657600" cy="4699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4589F2-231C-D34C-92C7-6D00660DCE79}"/>
              </a:ext>
            </a:extLst>
          </p:cNvPr>
          <p:cNvSpPr txBox="1"/>
          <p:nvPr/>
        </p:nvSpPr>
        <p:spPr>
          <a:xfrm>
            <a:off x="9399752" y="2381998"/>
            <a:ext cx="19759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/>
              <a:t>Certification paths</a:t>
            </a:r>
          </a:p>
          <a:p>
            <a:r>
              <a:rPr lang="en-US" sz="1300" i="1"/>
              <a:t>Sorted by filters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3FD035A-FDF4-3B48-A383-7A231269950C}"/>
              </a:ext>
            </a:extLst>
          </p:cNvPr>
          <p:cNvCxnSpPr>
            <a:cxnSpLocks/>
          </p:cNvCxnSpPr>
          <p:nvPr/>
        </p:nvCxnSpPr>
        <p:spPr>
          <a:xfrm flipH="1">
            <a:off x="8220540" y="2566664"/>
            <a:ext cx="111206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4815F2D-9528-4504-B590-CE0D517B8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Segoe UI"/>
              </a:rPr>
              <a:t>Brow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FD85C6-A340-7F42-86D1-608DC65195B7}"/>
              </a:ext>
            </a:extLst>
          </p:cNvPr>
          <p:cNvSpPr txBox="1"/>
          <p:nvPr/>
        </p:nvSpPr>
        <p:spPr>
          <a:xfrm>
            <a:off x="1868998" y="2130000"/>
            <a:ext cx="990399" cy="92333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sz="1500"/>
              <a:t>Filtering</a:t>
            </a:r>
          </a:p>
          <a:p>
            <a:r>
              <a:rPr lang="en-US" sz="1300" i="1"/>
              <a:t>Technology</a:t>
            </a:r>
            <a:endParaRPr lang="en-US" sz="1300" i="1">
              <a:cs typeface="Segoe UI"/>
            </a:endParaRPr>
          </a:p>
          <a:p>
            <a:r>
              <a:rPr lang="en-US" sz="1300" i="1"/>
              <a:t>Job role</a:t>
            </a:r>
            <a:endParaRPr lang="en-US" sz="1300" i="1">
              <a:cs typeface="Segoe UI"/>
            </a:endParaRPr>
          </a:p>
          <a:p>
            <a:r>
              <a:rPr lang="en-US" sz="1300" i="1"/>
              <a:t>Level</a:t>
            </a:r>
            <a:endParaRPr lang="en-US" sz="1300" i="1">
              <a:cs typeface="Segoe UI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623E930-44ED-4742-8EB0-0AEB25D5B9F5}"/>
              </a:ext>
            </a:extLst>
          </p:cNvPr>
          <p:cNvCxnSpPr>
            <a:cxnSpLocks/>
          </p:cNvCxnSpPr>
          <p:nvPr/>
        </p:nvCxnSpPr>
        <p:spPr>
          <a:xfrm>
            <a:off x="3130545" y="2301788"/>
            <a:ext cx="914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71510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F35B60-D0CB-B44D-8E9E-85A0E776C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hrough prototy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8F13C0-5812-7D45-A1B9-F16D17CC12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982081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hlinkClick r:id="rId2"/>
              </a:rPr>
              <a:t>https://aka.ms/</a:t>
            </a:r>
            <a:r>
              <a:rPr lang="en-US" err="1">
                <a:hlinkClick r:id="rId2"/>
              </a:rPr>
              <a:t>certsonlearn</a:t>
            </a:r>
            <a:endParaRPr lang="en-US"/>
          </a:p>
          <a:p>
            <a:endParaRPr lang="en-US"/>
          </a:p>
          <a:p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D43D9B03-2FDB-2D44-9C5D-3B17E61814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8250" y="-631318"/>
            <a:ext cx="5573750" cy="968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1630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+mj-lt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3168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Competitive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8B4D8-1B67-844D-AE56-ABA66B587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 fontScale="55000" lnSpcReduction="20000"/>
          </a:bodyPr>
          <a:lstStyle/>
          <a:p>
            <a:r>
              <a:rPr lang="en-US">
                <a:solidFill>
                  <a:schemeClr val="tx1"/>
                </a:solidFill>
              </a:rPr>
              <a:t>AWS, Google, and Trailhead</a:t>
            </a:r>
          </a:p>
          <a:p>
            <a:r>
              <a:rPr lang="en-US" i="1">
                <a:solidFill>
                  <a:schemeClr val="tx1"/>
                </a:solidFill>
              </a:rPr>
              <a:t>Qualitative feedback from user study and design research</a:t>
            </a:r>
          </a:p>
        </p:txBody>
      </p:sp>
    </p:spTree>
    <p:extLst>
      <p:ext uri="{BB962C8B-B14F-4D97-AF65-F5344CB8AC3E}">
        <p14:creationId xmlns:p14="http://schemas.microsoft.com/office/powerpoint/2010/main" val="23636077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21F02B5-8EFE-A84C-B41E-5905858ADF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895433"/>
              </p:ext>
            </p:extLst>
          </p:nvPr>
        </p:nvGraphicFramePr>
        <p:xfrm>
          <a:off x="600259" y="1205709"/>
          <a:ext cx="11021811" cy="5056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2728">
                  <a:extLst>
                    <a:ext uri="{9D8B030D-6E8A-4147-A177-3AD203B41FA5}">
                      <a16:colId xmlns:a16="http://schemas.microsoft.com/office/drawing/2014/main" val="898852105"/>
                    </a:ext>
                  </a:extLst>
                </a:gridCol>
                <a:gridCol w="1220031">
                  <a:extLst>
                    <a:ext uri="{9D8B030D-6E8A-4147-A177-3AD203B41FA5}">
                      <a16:colId xmlns:a16="http://schemas.microsoft.com/office/drawing/2014/main" val="2887210729"/>
                    </a:ext>
                  </a:extLst>
                </a:gridCol>
                <a:gridCol w="1309927">
                  <a:extLst>
                    <a:ext uri="{9D8B030D-6E8A-4147-A177-3AD203B41FA5}">
                      <a16:colId xmlns:a16="http://schemas.microsoft.com/office/drawing/2014/main" val="876780997"/>
                    </a:ext>
                  </a:extLst>
                </a:gridCol>
                <a:gridCol w="1464037">
                  <a:extLst>
                    <a:ext uri="{9D8B030D-6E8A-4147-A177-3AD203B41FA5}">
                      <a16:colId xmlns:a16="http://schemas.microsoft.com/office/drawing/2014/main" val="2653858815"/>
                    </a:ext>
                  </a:extLst>
                </a:gridCol>
                <a:gridCol w="1541091">
                  <a:extLst>
                    <a:ext uri="{9D8B030D-6E8A-4147-A177-3AD203B41FA5}">
                      <a16:colId xmlns:a16="http://schemas.microsoft.com/office/drawing/2014/main" val="2922877090"/>
                    </a:ext>
                  </a:extLst>
                </a:gridCol>
                <a:gridCol w="1633997">
                  <a:extLst>
                    <a:ext uri="{9D8B030D-6E8A-4147-A177-3AD203B41FA5}">
                      <a16:colId xmlns:a16="http://schemas.microsoft.com/office/drawing/2014/main" val="302717212"/>
                    </a:ext>
                  </a:extLst>
                </a:gridCol>
              </a:tblGrid>
              <a:tr h="87320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Goog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railh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crosoft</a:t>
                      </a:r>
                      <a:br>
                        <a:rPr lang="en-US"/>
                      </a:br>
                      <a:r>
                        <a:rPr lang="en-US"/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crosoft </a:t>
                      </a:r>
                      <a:br>
                        <a:rPr lang="en-US"/>
                      </a:br>
                      <a:r>
                        <a:rPr lang="en-US"/>
                        <a:t>Fu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6794201"/>
                  </a:ext>
                </a:extLst>
              </a:tr>
              <a:tr h="505905">
                <a:tc>
                  <a:txBody>
                    <a:bodyPr/>
                    <a:lstStyle/>
                    <a:p>
                      <a:r>
                        <a:rPr lang="en-US" sz="1600" b="1"/>
                        <a:t>Certification path dia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  <a:endParaRPr lang="en-US" baseline="30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9250479"/>
                  </a:ext>
                </a:extLst>
              </a:tr>
              <a:tr h="790042">
                <a:tc>
                  <a:txBody>
                    <a:bodyPr/>
                    <a:lstStyle/>
                    <a:p>
                      <a:r>
                        <a:rPr lang="en-US" sz="1600" b="1"/>
                        <a:t>Free learning content directly on </a:t>
                      </a:r>
                      <a:br>
                        <a:rPr lang="en-US" sz="1600" b="1"/>
                      </a:br>
                      <a:r>
                        <a:rPr lang="en-US" sz="1600" b="1"/>
                        <a:t>certification p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493123"/>
                  </a:ext>
                </a:extLst>
              </a:tr>
              <a:tr h="505905">
                <a:tc>
                  <a:txBody>
                    <a:bodyPr/>
                    <a:lstStyle/>
                    <a:p>
                      <a:r>
                        <a:rPr lang="en-US" sz="1600"/>
                        <a:t>Persistent navig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  <a:endParaRPr lang="en-US" baseline="30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  <a:endParaRPr lang="en-US" baseline="30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319071"/>
                  </a:ext>
                </a:extLst>
              </a:tr>
              <a:tr h="505905">
                <a:tc>
                  <a:txBody>
                    <a:bodyPr/>
                    <a:lstStyle/>
                    <a:p>
                      <a:r>
                        <a:rPr lang="en-US" sz="1600" b="1"/>
                        <a:t>Certifications discoverable by job ro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  <a:endParaRPr lang="en-US" baseline="30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  <a:endParaRPr lang="en-US" baseline="300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25286307"/>
                  </a:ext>
                </a:extLst>
              </a:tr>
              <a:tr h="505905">
                <a:tc>
                  <a:txBody>
                    <a:bodyPr/>
                    <a:lstStyle/>
                    <a:p>
                      <a:r>
                        <a:rPr lang="en-US" sz="1600"/>
                        <a:t>Clear calls to 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741885"/>
                  </a:ext>
                </a:extLst>
              </a:tr>
              <a:tr h="505905">
                <a:tc>
                  <a:txBody>
                    <a:bodyPr/>
                    <a:lstStyle/>
                    <a:p>
                      <a:r>
                        <a:rPr lang="en-US" sz="1600"/>
                        <a:t>Certifications are easily discoverable </a:t>
                      </a:r>
                      <a:br>
                        <a:rPr lang="en-US" sz="1600"/>
                      </a:br>
                      <a:r>
                        <a:rPr lang="en-US" sz="1600"/>
                        <a:t>in larger ecosyste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8724960"/>
                  </a:ext>
                </a:extLst>
              </a:tr>
              <a:tr h="790042">
                <a:tc>
                  <a:txBody>
                    <a:bodyPr/>
                    <a:lstStyle/>
                    <a:p>
                      <a:r>
                        <a:rPr lang="en-US" sz="1600"/>
                        <a:t>Communicate skills/knowledge validated by each certifi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56458339"/>
                  </a:ext>
                </a:extLst>
              </a:tr>
            </a:tbl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2A103045-CE71-F742-B1B1-179F25B54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eature comparison for phase 1</a:t>
            </a:r>
          </a:p>
        </p:txBody>
      </p:sp>
    </p:spTree>
    <p:extLst>
      <p:ext uri="{BB962C8B-B14F-4D97-AF65-F5344CB8AC3E}">
        <p14:creationId xmlns:p14="http://schemas.microsoft.com/office/powerpoint/2010/main" val="294952837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AW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F31075-B4EB-CE47-91D0-CEDFA6AE92BA}"/>
              </a:ext>
            </a:extLst>
          </p:cNvPr>
          <p:cNvSpPr txBox="1"/>
          <p:nvPr/>
        </p:nvSpPr>
        <p:spPr>
          <a:xfrm>
            <a:off x="7894749" y="1516617"/>
            <a:ext cx="383479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ysClr val="windowText" lastClr="000000"/>
                </a:solidFill>
              </a:rPr>
              <a:t>Notes</a:t>
            </a:r>
          </a:p>
          <a:p>
            <a:pPr marL="285750" indent="-285750">
              <a:buFontTx/>
              <a:buChar char="-"/>
            </a:pPr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Their cert program is a lot less “simple“ with Machine Learning, AWS Media, and Storage. There isn’t a cohesive story, these 3 break the “role-based model”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Messaging is clear and CTAs are direct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ertification diagrams are not interactive or accessible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 b="1">
                <a:solidFill>
                  <a:sysClr val="windowText" lastClr="000000"/>
                </a:solidFill>
              </a:rPr>
              <a:t>Endlessly opens new browser tabs 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Misalignment of certifications and 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training filter taxonomy/terms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Decisions </a:t>
            </a:r>
            <a:r>
              <a:rPr lang="en-US" sz="1400" u="sng">
                <a:solidFill>
                  <a:sysClr val="windowText" lastClr="000000"/>
                </a:solidFill>
              </a:rPr>
              <a:t>are not</a:t>
            </a:r>
            <a:r>
              <a:rPr lang="en-US" sz="1400">
                <a:solidFill>
                  <a:sysClr val="windowText" lastClr="000000"/>
                </a:solidFill>
              </a:rPr>
              <a:t> persisted through the experience, especially in </a:t>
            </a:r>
            <a:r>
              <a:rPr lang="en-US" sz="1400" err="1">
                <a:solidFill>
                  <a:sysClr val="windowText" lastClr="000000"/>
                </a:solidFill>
              </a:rPr>
              <a:t>aws.training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(I must reselect at every step)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955088-5DD3-E948-8872-67CE60B552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2841" y="2498383"/>
            <a:ext cx="5507737" cy="186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91109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ED8820-F371-064B-9661-8E613FB339D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2044914"/>
            <a:ext cx="7570273" cy="16330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19EAB5-6DCA-614F-9458-035A5EAED9E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3568998"/>
            <a:ext cx="7570273" cy="14226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cs typeface="Segoe UI"/>
              </a:rPr>
              <a:t>Google Cloud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F31075-B4EB-CE47-91D0-CEDFA6AE92BA}"/>
              </a:ext>
            </a:extLst>
          </p:cNvPr>
          <p:cNvSpPr txBox="1"/>
          <p:nvPr/>
        </p:nvSpPr>
        <p:spPr>
          <a:xfrm>
            <a:off x="7894749" y="1516617"/>
            <a:ext cx="383479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ysClr val="windowText" lastClr="000000"/>
                </a:solidFill>
              </a:rPr>
              <a:t>Notes</a:t>
            </a:r>
          </a:p>
          <a:p>
            <a:endParaRPr lang="en-US" sz="1400" i="1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lear breakdown of certification hierarchy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(it’s a flat structure)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lear definition of skills that align to certification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Simple communication of training options 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for certification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Developer and Cloud certifications are separate experiences and communication 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is different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Very simple value props for certification (maybe too simple)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15902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cs typeface="Segoe UI"/>
              </a:rPr>
              <a:t>Trailhead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F31075-B4EB-CE47-91D0-CEDFA6AE92BA}"/>
              </a:ext>
            </a:extLst>
          </p:cNvPr>
          <p:cNvSpPr txBox="1"/>
          <p:nvPr/>
        </p:nvSpPr>
        <p:spPr>
          <a:xfrm>
            <a:off x="7894749" y="1516617"/>
            <a:ext cx="383479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ysClr val="windowText" lastClr="000000"/>
                </a:solidFill>
              </a:rPr>
              <a:t>Notes</a:t>
            </a:r>
          </a:p>
          <a:p>
            <a:endParaRPr lang="en-US" sz="1400" i="1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Interchanges the words “Certification” and “Exams” without explanation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areer paths (job role) are clearly explained and validated with statistics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lasses and workshops are exposed through downloadable PDFs only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Promotes community to help individuals prepare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onfusing hierarchy – “</a:t>
            </a:r>
            <a:r>
              <a:rPr lang="en-US" sz="1400" err="1">
                <a:solidFill>
                  <a:sysClr val="windowText" lastClr="000000"/>
                </a:solidFill>
              </a:rPr>
              <a:t>Superbadges</a:t>
            </a:r>
            <a:r>
              <a:rPr lang="en-US" sz="1400">
                <a:solidFill>
                  <a:sysClr val="windowText" lastClr="000000"/>
                </a:solidFill>
              </a:rPr>
              <a:t>” and “Certifications”</a:t>
            </a:r>
          </a:p>
          <a:p>
            <a:endParaRPr lang="en-US" sz="1400" i="1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28D975-F6BC-4C45-91DD-5323D74147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2238" y="1516617"/>
            <a:ext cx="3438306" cy="476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06594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What Microsoft is/will be doing better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AEE0ED-654D-7847-9684-334D620B9ECC}"/>
              </a:ext>
            </a:extLst>
          </p:cNvPr>
          <p:cNvSpPr txBox="1"/>
          <p:nvPr/>
        </p:nvSpPr>
        <p:spPr>
          <a:xfrm>
            <a:off x="7894749" y="1516617"/>
            <a:ext cx="387168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ysClr val="windowText" lastClr="000000"/>
                </a:solidFill>
              </a:rPr>
              <a:t>Notes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Represent the journey/path </a:t>
            </a:r>
            <a:r>
              <a:rPr lang="en-US" sz="1400" u="sng">
                <a:solidFill>
                  <a:sysClr val="windowText" lastClr="000000"/>
                </a:solidFill>
              </a:rPr>
              <a:t>simply</a:t>
            </a:r>
            <a:r>
              <a:rPr lang="en-US" sz="1400">
                <a:solidFill>
                  <a:sysClr val="windowText" lastClr="000000"/>
                </a:solidFill>
              </a:rPr>
              <a:t> 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and make it actionable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Deliver flows based on what 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users need (job-roles &amp; certs)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Clearly define the skills that align to certification (already doing)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Fast track to prep for cert “Start here”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Provide clear and consistent messaging throughout the experience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r>
              <a:rPr lang="en-US" sz="1400">
                <a:solidFill>
                  <a:sysClr val="windowText" lastClr="000000"/>
                </a:solidFill>
              </a:rPr>
              <a:t>Don’t allow the story/message to impede</a:t>
            </a:r>
            <a:br>
              <a:rPr lang="en-US" sz="1400">
                <a:solidFill>
                  <a:sysClr val="windowText" lastClr="000000"/>
                </a:solidFill>
              </a:rPr>
            </a:br>
            <a:r>
              <a:rPr lang="en-US" sz="1400">
                <a:solidFill>
                  <a:sysClr val="windowText" lastClr="000000"/>
                </a:solidFill>
              </a:rPr>
              <a:t>the ability for a user to make a decision</a:t>
            </a: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  <a:p>
            <a:endParaRPr lang="en-US" sz="1400">
              <a:solidFill>
                <a:sysClr val="windowText" lastClr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88C135-5BFE-7C45-8F60-C21E26BA3C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2676293"/>
            <a:ext cx="6959520" cy="1241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75525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+mj-lt"/>
              </a:rPr>
              <a:t>User Stud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8B4D8-1B67-844D-AE56-ABA66B587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>
                <a:solidFill>
                  <a:schemeClr val="tx1"/>
                </a:solidFill>
                <a:latin typeface="+mj-lt"/>
              </a:rPr>
              <a:t>Conducted by Developer Relations Design Team</a:t>
            </a:r>
          </a:p>
        </p:txBody>
      </p:sp>
    </p:spTree>
    <p:extLst>
      <p:ext uri="{BB962C8B-B14F-4D97-AF65-F5344CB8AC3E}">
        <p14:creationId xmlns:p14="http://schemas.microsoft.com/office/powerpoint/2010/main" val="3820443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74B358-2721-4ECC-ACF8-25D309631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Goals for the core certification experience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2B6EA8-AC02-4417-9830-BEDCAD1CD2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3200876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b="1">
                <a:latin typeface="+mn-lt"/>
                <a:cs typeface="Segoe UI" panose="020B0502040204020203" pitchFamily="34" charset="0"/>
              </a:rPr>
              <a:t>Simple path for cert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Provide a path that is sequenti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Provide a high-level representation of the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Map learning paths directly to certif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Integrate partners/instructor-led training</a:t>
            </a:r>
          </a:p>
          <a:p>
            <a:pPr lvl="1"/>
            <a:endParaRPr lang="en-US" sz="1600">
              <a:cs typeface="Segoe UI" panose="020B0502040204020203" pitchFamily="34" charset="0"/>
            </a:endParaRPr>
          </a:p>
          <a:p>
            <a:r>
              <a:rPr lang="en-US" sz="1600" b="1">
                <a:latin typeface="+mn-lt"/>
                <a:cs typeface="Segoe UI" panose="020B0502040204020203" pitchFamily="34" charset="0"/>
              </a:rPr>
              <a:t>Simple path for job rol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Align job roles to certifications and learning paths</a:t>
            </a:r>
          </a:p>
          <a:p>
            <a:endParaRPr lang="en-US" sz="1600">
              <a:latin typeface="+mn-lt"/>
              <a:cs typeface="Segoe UI" panose="020B0502040204020203" pitchFamily="34" charset="0"/>
            </a:endParaRPr>
          </a:p>
          <a:p>
            <a:r>
              <a:rPr lang="en-US" sz="1600" b="1">
                <a:latin typeface="+mn-lt"/>
                <a:cs typeface="Segoe UI" panose="020B0502040204020203" pitchFamily="34" charset="0"/>
              </a:rPr>
              <a:t>Surface tasks to becoming certifi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" panose="020B0502040204020203" pitchFamily="34" charset="0"/>
              </a:rPr>
              <a:t>Learning assets and resources in context to certifications</a:t>
            </a:r>
          </a:p>
        </p:txBody>
      </p:sp>
    </p:spTree>
    <p:extLst>
      <p:ext uri="{BB962C8B-B14F-4D97-AF65-F5344CB8AC3E}">
        <p14:creationId xmlns:p14="http://schemas.microsoft.com/office/powerpoint/2010/main" val="130994763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61A8E0-9B28-0045-9BA4-5CA84C6B13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687916"/>
              </p:ext>
            </p:extLst>
          </p:nvPr>
        </p:nvGraphicFramePr>
        <p:xfrm>
          <a:off x="8292192" y="1991360"/>
          <a:ext cx="2967074" cy="287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3537">
                  <a:extLst>
                    <a:ext uri="{9D8B030D-6E8A-4147-A177-3AD203B41FA5}">
                      <a16:colId xmlns:a16="http://schemas.microsoft.com/office/drawing/2014/main" val="3366841728"/>
                    </a:ext>
                  </a:extLst>
                </a:gridCol>
                <a:gridCol w="1483537">
                  <a:extLst>
                    <a:ext uri="{9D8B030D-6E8A-4147-A177-3AD203B41FA5}">
                      <a16:colId xmlns:a16="http://schemas.microsoft.com/office/drawing/2014/main" val="22931586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ob Titl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 kern="1200">
                          <a:solidFill>
                            <a:schemeClr val="lt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terest in Certification </a:t>
                      </a:r>
                      <a:endParaRPr lang="en-US" sz="1100" b="0" i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0396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olutions Architec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otential seeker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265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ystem Analys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ave M365; Working on Azur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5492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Analys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ad M365; No future interest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960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ystem Architec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ing Azure cert soon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9465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 Manager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erest for his team, not himself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4663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nsulta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 interest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28436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43296CD-B05A-1C49-8EB7-8042F101D2AA}"/>
              </a:ext>
            </a:extLst>
          </p:cNvPr>
          <p:cNvSpPr txBox="1"/>
          <p:nvPr/>
        </p:nvSpPr>
        <p:spPr>
          <a:xfrm>
            <a:off x="588263" y="1585851"/>
            <a:ext cx="6379535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All users were very positive about having a graphic representation of the certification path and wanted it to be shown as default in either job-role page or cert-path page. </a:t>
            </a:r>
            <a:r>
              <a:rPr lang="en-US" sz="1200" u="sng">
                <a:latin typeface="Segoe UI" panose="020B0502040204020203" pitchFamily="34" charset="0"/>
                <a:cs typeface="Segoe UI" panose="020B0502040204020203" pitchFamily="34" charset="0"/>
              </a:rPr>
              <a:t>There is an expectation that the certification path graphic is interactive.</a:t>
            </a:r>
          </a:p>
          <a:p>
            <a:pPr fontAlgn="base"/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Certification path page - 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Potential to be used as a learning guidance (syllabus). Show what entails to be a {Solutions Architect} by providing a clear learning guidance/syllabus. </a:t>
            </a:r>
            <a:r>
              <a:rPr lang="en-US" sz="1200" u="sng">
                <a:latin typeface="Segoe UI" panose="020B0502040204020203" pitchFamily="34" charset="0"/>
                <a:cs typeface="Segoe UI" panose="020B0502040204020203" pitchFamily="34" charset="0"/>
              </a:rPr>
              <a:t>Those who aren’t interested in certifications still use the cert-path page to guide their learning.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fontAlgn="base"/>
            <a:endParaRPr lang="en-US" sz="12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Certification overview page - 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Potential certification seekers found the testimonial and "Why get certified?” on the certification overview very helpful.</a:t>
            </a:r>
          </a:p>
          <a:p>
            <a:pPr fontAlgn="base"/>
            <a:endParaRPr lang="en-US" sz="12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Certification overview page - 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Those who are already working toward certification found the “Explore Microsoft’s most sought-after certifications” table most valuable. </a:t>
            </a:r>
            <a:r>
              <a:rPr lang="en-US" sz="1200" u="sng">
                <a:latin typeface="Segoe UI" panose="020B0502040204020203" pitchFamily="34" charset="0"/>
                <a:cs typeface="Segoe UI" panose="020B0502040204020203" pitchFamily="34" charset="0"/>
              </a:rPr>
              <a:t>They wanted to see the certifications they already passed marked on the table.</a:t>
            </a:r>
          </a:p>
          <a:p>
            <a:pPr fontAlgn="base"/>
            <a:endParaRPr lang="en-US" sz="12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en-US" sz="1200" b="1">
                <a:latin typeface="Segoe UI" panose="020B0502040204020203" pitchFamily="34" charset="0"/>
                <a:cs typeface="Segoe UI" panose="020B0502040204020203" pitchFamily="34" charset="0"/>
              </a:rPr>
              <a:t>Certification path page - </a:t>
            </a: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Users wanted to know how close they are to being job-, cert-, or exam-ready. </a:t>
            </a:r>
            <a:r>
              <a:rPr lang="en-US" sz="1200" u="sng">
                <a:latin typeface="Segoe UI" panose="020B0502040204020203" pitchFamily="34" charset="0"/>
                <a:cs typeface="Segoe UI" panose="020B0502040204020203" pitchFamily="34" charset="0"/>
              </a:rPr>
              <a:t>How can we leverage user data and account linking to highlight readiness?</a:t>
            </a:r>
          </a:p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CEF5540-4779-1C43-99DC-E5E0B80DA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ighlights from user stud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44E329-973F-F548-B3EC-F520E031201A}"/>
              </a:ext>
            </a:extLst>
          </p:cNvPr>
          <p:cNvSpPr txBox="1"/>
          <p:nvPr/>
        </p:nvSpPr>
        <p:spPr>
          <a:xfrm>
            <a:off x="8203720" y="1585851"/>
            <a:ext cx="13263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latin typeface="Segoe UI" panose="020B0502040204020203" pitchFamily="34" charset="0"/>
                <a:cs typeface="Segoe UI" panose="020B0502040204020203" pitchFamily="34" charset="0"/>
              </a:rPr>
              <a:t>Participants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79727158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ransitional experi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8B4D8-1B67-844D-AE56-ABA66B587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2555510"/>
            <a:ext cx="7476461" cy="302658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>
                <a:solidFill>
                  <a:schemeClr val="tx1"/>
                </a:solidFill>
                <a:latin typeface="+mj-lt"/>
              </a:rPr>
              <a:t>Part of phase 2 of the migration plan: simplification and transition</a:t>
            </a:r>
            <a:br>
              <a:rPr lang="en-US" sz="2000">
                <a:solidFill>
                  <a:schemeClr val="tx1"/>
                </a:solidFill>
                <a:latin typeface="+mj-lt"/>
              </a:rPr>
            </a:br>
            <a:r>
              <a:rPr lang="en-US" sz="2000" err="1">
                <a:solidFill>
                  <a:schemeClr val="tx1"/>
                </a:solidFill>
                <a:latin typeface="+mj-lt"/>
              </a:rPr>
              <a:t>Microsoft.com</a:t>
            </a:r>
            <a:r>
              <a:rPr lang="en-US" sz="2000">
                <a:solidFill>
                  <a:schemeClr val="tx1"/>
                </a:solidFill>
                <a:latin typeface="+mj-lt"/>
              </a:rPr>
              <a:t>/learning (Mar-Jun)</a:t>
            </a: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r>
              <a:rPr lang="en-US" sz="2000" b="1">
                <a:solidFill>
                  <a:schemeClr val="tx1"/>
                </a:solidFill>
                <a:latin typeface="+mj-lt"/>
              </a:rPr>
              <a:t>Purpos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+mj-lt"/>
              </a:rPr>
              <a:t>Provide customers with a role-based certification experience now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+mj-lt"/>
              </a:rPr>
              <a:t>Easier transition for the learne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+mj-lt"/>
              </a:rPr>
              <a:t>Gain insights to influence the future experience.</a:t>
            </a: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  <a:p>
            <a:endParaRPr lang="en-US" sz="20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349100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4885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ransitional Microsoft certification flow </a:t>
            </a:r>
            <a:r>
              <a:rPr lang="en-US" sz="2800">
                <a:cs typeface="Segoe UI"/>
              </a:rPr>
              <a:t>(</a:t>
            </a:r>
            <a:r>
              <a:rPr lang="en-US" sz="2800" err="1">
                <a:cs typeface="Segoe UI"/>
              </a:rPr>
              <a:t>Microsoft.com</a:t>
            </a:r>
            <a:r>
              <a:rPr lang="en-US" sz="2800">
                <a:cs typeface="Segoe UI"/>
              </a:rPr>
              <a:t>/learning)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D6B32A-5CEE-614C-812A-26912EDCBBB1}"/>
              </a:ext>
            </a:extLst>
          </p:cNvPr>
          <p:cNvCxnSpPr/>
          <p:nvPr/>
        </p:nvCxnSpPr>
        <p:spPr>
          <a:xfrm>
            <a:off x="588263" y="3856207"/>
            <a:ext cx="11034073" cy="0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A8B8FEE-9E21-434C-8FDF-5DAE56F76FC6}"/>
              </a:ext>
            </a:extLst>
          </p:cNvPr>
          <p:cNvSpPr txBox="1"/>
          <p:nvPr/>
        </p:nvSpPr>
        <p:spPr>
          <a:xfrm>
            <a:off x="588263" y="1606428"/>
            <a:ext cx="36804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Interim Microsoft certification flo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D36731-33F8-0F4C-8234-0FA33337C309}"/>
              </a:ext>
            </a:extLst>
          </p:cNvPr>
          <p:cNvSpPr txBox="1"/>
          <p:nvPr/>
        </p:nvSpPr>
        <p:spPr>
          <a:xfrm>
            <a:off x="588263" y="4450904"/>
            <a:ext cx="368047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Future Microsoft certification flow</a:t>
            </a:r>
          </a:p>
          <a:p>
            <a:pPr algn="l"/>
            <a:endParaRPr lang="en-US" sz="1400">
              <a:solidFill>
                <a:srgbClr val="0078D4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EE4B1F-BED2-424B-BC57-C94EA92024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1984059"/>
            <a:ext cx="10693400" cy="1574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18A22D-1598-8347-8250-8D860C65448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5108083"/>
            <a:ext cx="106934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236176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E3BBB-A544-40F1-9A28-7825924A6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Design &amp; Proto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F3DB12-E2D3-A04A-9D2D-4ACE94E3983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63" y="1720427"/>
            <a:ext cx="1828800" cy="378523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146C23-BC81-E74C-BE5D-2CE680E5BCD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9701" y="1720427"/>
            <a:ext cx="1828800" cy="259841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A86F48-3CD6-E140-81F1-946475E34B3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635" y="1720427"/>
            <a:ext cx="1828800" cy="295084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21D290-2DFD-F34A-B0B9-CC1DE2AC83E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0253" y="1720427"/>
            <a:ext cx="1828800" cy="220599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999189D-5282-ED41-9FA3-D4B667449D5D}"/>
              </a:ext>
            </a:extLst>
          </p:cNvPr>
          <p:cNvGrpSpPr/>
          <p:nvPr/>
        </p:nvGrpSpPr>
        <p:grpSpPr>
          <a:xfrm>
            <a:off x="8726318" y="1720427"/>
            <a:ext cx="1828800" cy="3322320"/>
            <a:chOff x="9191686" y="1511879"/>
            <a:chExt cx="1828800" cy="332232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10AAA31-2E76-6B4D-A5FC-6AB8F06F32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91686" y="1511879"/>
              <a:ext cx="1828800" cy="332232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1F5638C-440E-C848-9A40-80F06E3E2BA4}"/>
                </a:ext>
              </a:extLst>
            </p:cNvPr>
            <p:cNvSpPr/>
            <p:nvPr/>
          </p:nvSpPr>
          <p:spPr bwMode="auto">
            <a:xfrm>
              <a:off x="9191686" y="3231044"/>
              <a:ext cx="1828800" cy="1116367"/>
            </a:xfrm>
            <a:prstGeom prst="rect">
              <a:avLst/>
            </a:prstGeom>
            <a:solidFill>
              <a:schemeClr val="bg1">
                <a:lumMod val="75000"/>
                <a:alpha val="93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130AB48-07B2-F440-A2D6-4A523F836F3D}"/>
                </a:ext>
              </a:extLst>
            </p:cNvPr>
            <p:cNvSpPr txBox="1"/>
            <p:nvPr/>
          </p:nvSpPr>
          <p:spPr>
            <a:xfrm>
              <a:off x="9378162" y="3569639"/>
              <a:ext cx="1455848" cy="400110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algn="ctr"/>
              <a:r>
                <a:rPr lang="en-US" sz="1000" i="1">
                  <a:cs typeface="Segoe UI"/>
                </a:rPr>
                <a:t>Unchanged relative to</a:t>
              </a:r>
            </a:p>
            <a:p>
              <a:pPr algn="ctr"/>
              <a:r>
                <a:rPr lang="en-US" sz="1000" i="1">
                  <a:cs typeface="Segoe UI"/>
                </a:rPr>
                <a:t>certification experience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1B6F972-BD0A-CD47-AFE4-D7F47B19B31E}"/>
              </a:ext>
            </a:extLst>
          </p:cNvPr>
          <p:cNvSpPr txBox="1"/>
          <p:nvPr/>
        </p:nvSpPr>
        <p:spPr>
          <a:xfrm>
            <a:off x="588263" y="1416506"/>
            <a:ext cx="14924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ertification Overvie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282331-4223-4342-9D03-E1576FB1B9A1}"/>
              </a:ext>
            </a:extLst>
          </p:cNvPr>
          <p:cNvSpPr txBox="1"/>
          <p:nvPr/>
        </p:nvSpPr>
        <p:spPr>
          <a:xfrm>
            <a:off x="2619701" y="1416506"/>
            <a:ext cx="13905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owse certific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6ABFE3-2620-4641-9CB8-94FAFF6EC0BC}"/>
              </a:ext>
            </a:extLst>
          </p:cNvPr>
          <p:cNvSpPr txBox="1"/>
          <p:nvPr/>
        </p:nvSpPr>
        <p:spPr>
          <a:xfrm>
            <a:off x="4629635" y="1416506"/>
            <a:ext cx="11693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ertification pa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E10BFE-C622-3446-A3F5-68AA6F71C36E}"/>
              </a:ext>
            </a:extLst>
          </p:cNvPr>
          <p:cNvSpPr txBox="1"/>
          <p:nvPr/>
        </p:nvSpPr>
        <p:spPr>
          <a:xfrm>
            <a:off x="6650253" y="1416506"/>
            <a:ext cx="36067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x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F95EFB-8A7B-7845-B447-559192C1FE0E}"/>
              </a:ext>
            </a:extLst>
          </p:cNvPr>
          <p:cNvSpPr txBox="1"/>
          <p:nvPr/>
        </p:nvSpPr>
        <p:spPr>
          <a:xfrm>
            <a:off x="8726318" y="1414592"/>
            <a:ext cx="749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mep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438BFA-9D7A-D74B-B49F-2543CD5E6B7B}"/>
              </a:ext>
            </a:extLst>
          </p:cNvPr>
          <p:cNvSpPr txBox="1"/>
          <p:nvPr/>
        </p:nvSpPr>
        <p:spPr>
          <a:xfrm>
            <a:off x="588263" y="5968669"/>
            <a:ext cx="775039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rototype URL</a:t>
            </a:r>
          </a:p>
          <a:p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8"/>
              </a:rPr>
              <a:t>https://</a:t>
            </a:r>
            <a:r>
              <a:rPr lang="en-US" sz="160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8"/>
              </a:rPr>
              <a:t>xd.adobe.com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8"/>
              </a:rPr>
              <a:t>/view/fedbfbe7-1f71-4352-67a3-857ebc25dfb5-88ea/?</a:t>
            </a:r>
            <a:r>
              <a:rPr lang="en-US" sz="160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8"/>
              </a:rPr>
              <a:t>fullscreen</a:t>
            </a:r>
            <a:endParaRPr lang="en-US" sz="16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41190960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74B358-2721-4ECC-ACF8-25D309631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Process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2B6EA8-AC02-4417-9830-BEDCAD1CD2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379180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b="1">
                <a:latin typeface="+mn-lt"/>
                <a:cs typeface="Segoe UI" panose="020B0502040204020203" pitchFamily="34" charset="0"/>
              </a:rPr>
              <a:t>Deliver a Transitional experience on </a:t>
            </a:r>
            <a:r>
              <a:rPr lang="en-US" sz="1600" b="1" err="1">
                <a:latin typeface="+mn-lt"/>
                <a:cs typeface="Segoe UI" panose="020B0502040204020203" pitchFamily="34" charset="0"/>
              </a:rPr>
              <a:t>Microsoft.com</a:t>
            </a:r>
            <a:r>
              <a:rPr lang="en-US" sz="1600" b="1">
                <a:latin typeface="+mn-lt"/>
                <a:cs typeface="Segoe UI" panose="020B0502040204020203" pitchFamily="34" charset="0"/>
              </a:rPr>
              <a:t>/learning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Segoe UI" panose="020B0502040204020203" pitchFamily="34" charset="0"/>
              </a:rPr>
              <a:t>Maintain parody with Future exp. (as much as possible)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Segoe UI" panose="020B0502040204020203" pitchFamily="34" charset="0"/>
              </a:rPr>
              <a:t>Develop content with GTM and brand teams</a:t>
            </a:r>
          </a:p>
          <a:p>
            <a:pPr lvl="1"/>
            <a:endParaRPr lang="en-US" sz="1600" u="sng">
              <a:cs typeface="Segoe UI" panose="020B0502040204020203" pitchFamily="34" charset="0"/>
            </a:endParaRPr>
          </a:p>
          <a:p>
            <a:r>
              <a:rPr lang="en-US" sz="1600" b="1">
                <a:latin typeface="+mn-lt"/>
                <a:cs typeface="Segoe UI Semilight"/>
              </a:rPr>
              <a:t>Gain insights in the </a:t>
            </a:r>
            <a:r>
              <a:rPr lang="en-US" sz="1600" b="1">
                <a:latin typeface="Segoe UI" panose="020B0502040204020203" pitchFamily="34" charset="0"/>
                <a:cs typeface="Segoe UI" panose="020B0502040204020203" pitchFamily="34" charset="0"/>
              </a:rPr>
              <a:t>Transitional</a:t>
            </a:r>
            <a:r>
              <a:rPr lang="en-US" sz="1600" b="1">
                <a:latin typeface="+mn-lt"/>
                <a:cs typeface="Segoe UI Semilight"/>
              </a:rPr>
              <a:t> experience to influence the Future experience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  <a:cs typeface="Segoe UI Semilight"/>
              </a:rPr>
              <a:t>Measure usage data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>
                <a:cs typeface="Segoe UI Semilight"/>
              </a:rPr>
              <a:t>User testing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 i="1">
                <a:cs typeface="Segoe UI Semilight"/>
              </a:rPr>
              <a:t>Currently creating a test plan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600" i="1">
                <a:cs typeface="Segoe UI Semilight"/>
              </a:rPr>
              <a:t>Currently organizing a user panel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endParaRPr lang="en-US" sz="1600" i="1">
              <a:cs typeface="Segoe UI Semilight"/>
            </a:endParaRPr>
          </a:p>
          <a:p>
            <a:r>
              <a:rPr lang="en-US" sz="1600" b="1">
                <a:latin typeface="Segoe UI" panose="020B0502040204020203" pitchFamily="34" charset="0"/>
                <a:cs typeface="Segoe UI" panose="020B0502040204020203" pitchFamily="34" charset="0"/>
              </a:rPr>
              <a:t>Integrate insights gained into Future experience</a:t>
            </a:r>
          </a:p>
          <a:p>
            <a:r>
              <a:rPr lang="en-US" sz="1600" b="1">
                <a:latin typeface="+mn-lt"/>
                <a:cs typeface="Segoe UI Semilight"/>
              </a:rPr>
              <a:t>Release the Future experience on </a:t>
            </a:r>
            <a:r>
              <a:rPr lang="en-US" sz="1600" b="1" err="1">
                <a:latin typeface="+mn-lt"/>
                <a:cs typeface="Segoe UI Semilight"/>
              </a:rPr>
              <a:t>Microsoft.com</a:t>
            </a:r>
            <a:r>
              <a:rPr lang="en-US" sz="1600" b="1">
                <a:latin typeface="+mn-lt"/>
                <a:cs typeface="Segoe UI Semilight"/>
              </a:rPr>
              <a:t>/learn</a:t>
            </a:r>
          </a:p>
          <a:p>
            <a:r>
              <a:rPr lang="en-US" sz="1600" b="1">
                <a:latin typeface="+mn-lt"/>
                <a:cs typeface="Segoe UI Semilight"/>
              </a:rPr>
              <a:t>Iterate on Future experience based on insights</a:t>
            </a:r>
          </a:p>
        </p:txBody>
      </p:sp>
    </p:spTree>
    <p:extLst>
      <p:ext uri="{BB962C8B-B14F-4D97-AF65-F5344CB8AC3E}">
        <p14:creationId xmlns:p14="http://schemas.microsoft.com/office/powerpoint/2010/main" val="3513672135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Co-UX work items</a:t>
            </a:r>
          </a:p>
        </p:txBody>
      </p:sp>
    </p:spTree>
    <p:extLst>
      <p:ext uri="{BB962C8B-B14F-4D97-AF65-F5344CB8AC3E}">
        <p14:creationId xmlns:p14="http://schemas.microsoft.com/office/powerpoint/2010/main" val="42811533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41F1558-4F3F-0647-BBDE-938EF43E6C1D}"/>
              </a:ext>
            </a:extLst>
          </p:cNvPr>
          <p:cNvSpPr/>
          <p:nvPr/>
        </p:nvSpPr>
        <p:spPr bwMode="auto">
          <a:xfrm>
            <a:off x="554915" y="1468191"/>
            <a:ext cx="3386020" cy="227956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3D62D74-0B9C-4EC4-B849-41A4C650E5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210230"/>
              </p:ext>
            </p:extLst>
          </p:nvPr>
        </p:nvGraphicFramePr>
        <p:xfrm>
          <a:off x="554915" y="1159405"/>
          <a:ext cx="11066606" cy="5241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3552">
                  <a:extLst>
                    <a:ext uri="{9D8B030D-6E8A-4147-A177-3AD203B41FA5}">
                      <a16:colId xmlns:a16="http://schemas.microsoft.com/office/drawing/2014/main" val="1567119712"/>
                    </a:ext>
                  </a:extLst>
                </a:gridCol>
                <a:gridCol w="341354">
                  <a:extLst>
                    <a:ext uri="{9D8B030D-6E8A-4147-A177-3AD203B41FA5}">
                      <a16:colId xmlns:a16="http://schemas.microsoft.com/office/drawing/2014/main" val="4282788196"/>
                    </a:ext>
                  </a:extLst>
                </a:gridCol>
                <a:gridCol w="3731559">
                  <a:extLst>
                    <a:ext uri="{9D8B030D-6E8A-4147-A177-3AD203B41FA5}">
                      <a16:colId xmlns:a16="http://schemas.microsoft.com/office/drawing/2014/main" val="2006968454"/>
                    </a:ext>
                  </a:extLst>
                </a:gridCol>
                <a:gridCol w="313764">
                  <a:extLst>
                    <a:ext uri="{9D8B030D-6E8A-4147-A177-3AD203B41FA5}">
                      <a16:colId xmlns:a16="http://schemas.microsoft.com/office/drawing/2014/main" val="1602053641"/>
                    </a:ext>
                  </a:extLst>
                </a:gridCol>
                <a:gridCol w="3266377">
                  <a:extLst>
                    <a:ext uri="{9D8B030D-6E8A-4147-A177-3AD203B41FA5}">
                      <a16:colId xmlns:a16="http://schemas.microsoft.com/office/drawing/2014/main" val="3442078749"/>
                    </a:ext>
                  </a:extLst>
                </a:gridCol>
              </a:tblGrid>
              <a:tr h="5241395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0</a:t>
                      </a:r>
                    </a:p>
                    <a:p>
                      <a:pPr marL="285750" lvl="0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re certification experience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nding pages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rtification and exam details</a:t>
                      </a:r>
                    </a:p>
                    <a:p>
                      <a:pPr marL="752121" marR="0" lvl="1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les pages</a:t>
                      </a:r>
                    </a:p>
                    <a:p>
                      <a:pPr marL="752121" marR="0" lvl="1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owse</a:t>
                      </a:r>
                    </a:p>
                    <a:p>
                      <a:pPr marL="285750" lvl="0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rn profile 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rtifications</a:t>
                      </a:r>
                    </a:p>
                    <a:p>
                      <a:pPr marL="752121" marR="0" lvl="1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A and AAD linking</a:t>
                      </a:r>
                    </a:p>
                    <a:p>
                      <a:pPr marL="285750" lvl="0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try points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rn Home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rning paths</a:t>
                      </a:r>
                    </a:p>
                    <a:p>
                      <a:pPr marL="752121" lvl="1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s </a:t>
                      </a:r>
                      <a:endParaRPr lang="en-US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</a:t>
                      </a:r>
                    </a:p>
                    <a:p>
                      <a:pPr marL="285750" marR="0" lvl="0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rning partner pages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porting dashboards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 playlists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rn for Orgs</a:t>
                      </a:r>
                    </a:p>
                    <a:p>
                      <a:pPr marL="285750" lvl="0" indent="-285750">
                        <a:buFont typeface="Arial,Sans-Serif"/>
                        <a:buChar char="•"/>
                      </a:pPr>
                      <a:endParaRPr lang="en-US" sz="16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3</a:t>
                      </a:r>
                    </a:p>
                    <a:p>
                      <a:pPr marL="285750" marR="0" lvl="0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urse page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am scheduling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s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deo support</a:t>
                      </a:r>
                    </a:p>
                    <a:p>
                      <a:pPr marL="285750" lvl="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TM</a:t>
                      </a:r>
                      <a:endParaRPr lang="en-US" sz="1800" b="1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1094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C0C27B-6CDB-4F11-9F61-8A57AD6AC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Co-UX Goals and Work Items Over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B5A297-74F0-204A-96E6-AD751B6896BE}"/>
              </a:ext>
            </a:extLst>
          </p:cNvPr>
          <p:cNvSpPr txBox="1"/>
          <p:nvPr/>
        </p:nvSpPr>
        <p:spPr>
          <a:xfrm>
            <a:off x="4687613" y="5854262"/>
            <a:ext cx="59488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hase 0 &amp; 1 items are currently in the </a:t>
            </a:r>
            <a:r>
              <a:rPr lang="en-US" sz="20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2"/>
              </a:rPr>
              <a:t>UX backlog</a:t>
            </a:r>
            <a:endParaRPr lang="en-US" sz="2000" b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737904764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DBB8D-45E2-42E0-A26C-9434F8793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S Learn Workstreams Ass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27DAFF-88CF-4AB2-96D6-9832DED6E4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740" y="1118116"/>
            <a:ext cx="11018520" cy="609398"/>
          </a:xfrm>
        </p:spPr>
        <p:txBody>
          <a:bodyPr/>
          <a:lstStyle/>
          <a:p>
            <a:pPr marL="0" indent="0">
              <a:buNone/>
            </a:pPr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The following table highlights the UX-related workstreams we are working on with the DevRel UX team.</a:t>
            </a:r>
          </a:p>
          <a:p>
            <a:pPr marL="0" indent="0">
              <a:buNone/>
            </a:pPr>
            <a:endParaRPr lang="en-US" sz="18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107FC0D-C2A1-482D-8588-13E088B23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5637243"/>
              </p:ext>
            </p:extLst>
          </p:nvPr>
        </p:nvGraphicFramePr>
        <p:xfrm>
          <a:off x="586740" y="1790946"/>
          <a:ext cx="10438814" cy="4149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9407">
                  <a:extLst>
                    <a:ext uri="{9D8B030D-6E8A-4147-A177-3AD203B41FA5}">
                      <a16:colId xmlns:a16="http://schemas.microsoft.com/office/drawing/2014/main" val="234974154"/>
                    </a:ext>
                  </a:extLst>
                </a:gridCol>
                <a:gridCol w="5219407">
                  <a:extLst>
                    <a:ext uri="{9D8B030D-6E8A-4147-A177-3AD203B41FA5}">
                      <a16:colId xmlns:a16="http://schemas.microsoft.com/office/drawing/2014/main" val="2186964004"/>
                    </a:ext>
                  </a:extLst>
                </a:gridCol>
              </a:tblGrid>
              <a:tr h="445636">
                <a:tc>
                  <a:txBody>
                    <a:bodyPr/>
                    <a:lstStyle/>
                    <a:p>
                      <a:r>
                        <a:rPr lang="en-US"/>
                        <a:t>Agree to scope and ti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etails/timeline pen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7203725"/>
                  </a:ext>
                </a:extLst>
              </a:tr>
              <a:tr h="3524615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Core certification experience (landing pages, detail pages, role-based, browse) 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Learn profile (Cert dashboard, MPN dashboard, account linking) </a:t>
                      </a:r>
                    </a:p>
                    <a:p>
                      <a:pPr marL="28575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ntry points (MS Learn home, learning paths, etc.) </a:t>
                      </a:r>
                      <a:endParaRPr lang="en-US" sz="16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rses page</a:t>
                      </a:r>
                    </a:p>
                    <a:p>
                      <a:pPr marL="28575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rning partners page</a:t>
                      </a:r>
                      <a:endParaRPr lang="en-US" sz="16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orting/metrics dashboards</a:t>
                      </a:r>
                    </a:p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rn for Orgs</a:t>
                      </a:r>
                    </a:p>
                    <a:p>
                      <a:pPr marL="285750" marR="0" lvl="0" indent="-285750" algn="l" defTabSz="932742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 playlists (Enterprise packaged cont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crosoft-hosted exam scheduling</a:t>
                      </a:r>
                    </a:p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bs</a:t>
                      </a:r>
                    </a:p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tive video support</a:t>
                      </a:r>
                    </a:p>
                    <a:p>
                      <a:pPr marL="285750" lvl="0" indent="-285750" algn="l" defTabSz="932742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TM support (campaign landing pages, etc.)</a:t>
                      </a:r>
                    </a:p>
                    <a:p>
                      <a:pPr marL="285750" indent="-285750" algn="l" defTabSz="932742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559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07524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Context - Audienc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C2F03B-77B5-9F42-A910-762666DC7EDC}"/>
              </a:ext>
            </a:extLst>
          </p:cNvPr>
          <p:cNvSpPr txBox="1"/>
          <p:nvPr/>
        </p:nvSpPr>
        <p:spPr>
          <a:xfrm>
            <a:off x="1652788" y="5969913"/>
            <a:ext cx="888642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context setting helped us focus on the core experience. </a:t>
            </a:r>
          </a:p>
          <a:p>
            <a:pPr algn="ctr"/>
            <a:r>
              <a:rPr lang="en-US" sz="1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itional personas, flows and entries will refine the experience and are outlined in the UX backlog.</a:t>
            </a:r>
            <a:endParaRPr lang="en-US" sz="1400" i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B7AB0D-D79E-3A46-B9C2-D4F5F81A6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983" y="1391272"/>
            <a:ext cx="10112034" cy="40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59689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Context - Phasing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2BF94F-079D-4342-962D-76D9C45CCDF6}"/>
              </a:ext>
            </a:extLst>
          </p:cNvPr>
          <p:cNvSpPr txBox="1"/>
          <p:nvPr/>
        </p:nvSpPr>
        <p:spPr>
          <a:xfrm>
            <a:off x="6607833" y="1993771"/>
            <a:ext cx="3925019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uture Experience</a:t>
            </a:r>
          </a:p>
          <a:p>
            <a:pPr algn="ctr"/>
            <a:r>
              <a:rPr lang="en-US" sz="120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.com</a:t>
            </a: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learn</a:t>
            </a:r>
          </a:p>
          <a:p>
            <a:pPr algn="ctr"/>
            <a:endParaRPr lang="en-US" sz="1200" b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/>
            <a:r>
              <a:rPr lang="en-US" sz="1600" i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n+</a:t>
            </a:r>
          </a:p>
          <a:p>
            <a:pPr algn="ctr"/>
            <a:endParaRPr lang="en-US" sz="1600" i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/>
            <a:r>
              <a:rPr lang="en-US" sz="16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rpose</a:t>
            </a:r>
          </a:p>
          <a:p>
            <a:pPr algn="ctr"/>
            <a:r>
              <a:rPr lang="en-US" sz="1600"/>
              <a:t>Consolidate preparation and certification into one experience.</a:t>
            </a:r>
          </a:p>
          <a:p>
            <a:pPr algn="ctr"/>
            <a:endParaRPr lang="en-US" sz="1600"/>
          </a:p>
          <a:p>
            <a:pPr algn="ctr"/>
            <a:r>
              <a:rPr lang="en-US" sz="1600"/>
              <a:t>Create a long-term experience that </a:t>
            </a:r>
            <a:br>
              <a:rPr lang="en-US" sz="1600"/>
            </a:br>
            <a:r>
              <a:rPr lang="en-US" sz="1600"/>
              <a:t>can improve for customer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E8F7C8-C284-8747-8E93-111350A35AD4}"/>
              </a:ext>
            </a:extLst>
          </p:cNvPr>
          <p:cNvSpPr txBox="1"/>
          <p:nvPr/>
        </p:nvSpPr>
        <p:spPr>
          <a:xfrm>
            <a:off x="1311215" y="1993771"/>
            <a:ext cx="3786995" cy="34470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000" b="1"/>
              <a:t>Transitional Experience</a:t>
            </a:r>
          </a:p>
          <a:p>
            <a:pPr algn="ctr"/>
            <a:r>
              <a:rPr lang="en-US" sz="1200">
                <a:latin typeface="Segoe UI"/>
                <a:cs typeface="Segoe UI"/>
              </a:rPr>
              <a:t>Part of the Microsoft.com/learning migration plan</a:t>
            </a:r>
          </a:p>
          <a:p>
            <a:pPr algn="ctr"/>
            <a:r>
              <a:rPr lang="en-US" sz="1200" i="1">
                <a:latin typeface="Segoe UI"/>
                <a:cs typeface="Segoe UI"/>
              </a:rPr>
              <a:t>Design in Appendix</a:t>
            </a:r>
          </a:p>
          <a:p>
            <a:pPr algn="ctr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/>
            <a:r>
              <a:rPr lang="en-US" sz="1600" i="1"/>
              <a:t>Mar-Jun</a:t>
            </a:r>
            <a:endParaRPr lang="en-US" sz="1600" i="1">
              <a:cs typeface="Segoe UI"/>
            </a:endParaRPr>
          </a:p>
          <a:p>
            <a:pPr algn="ctr"/>
            <a:endParaRPr lang="en-US" sz="1600" u="sng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/>
            <a:r>
              <a:rPr lang="en-US" sz="1600" b="1"/>
              <a:t>Purpose</a:t>
            </a:r>
            <a:endParaRPr lang="en-US" sz="1600" b="1" u="sng"/>
          </a:p>
          <a:p>
            <a:pPr algn="ctr"/>
            <a:r>
              <a:rPr lang="en-US" sz="1600"/>
              <a:t>Provide customers with a role-based </a:t>
            </a:r>
            <a:endParaRPr lang="en-US" sz="1600">
              <a:cs typeface="Segoe UI"/>
            </a:endParaRPr>
          </a:p>
          <a:p>
            <a:pPr algn="ctr"/>
            <a:r>
              <a:rPr lang="en-US" sz="1600"/>
              <a:t>certification experience now.</a:t>
            </a:r>
            <a:endParaRPr lang="en-US" sz="1600">
              <a:cs typeface="Segoe UI"/>
            </a:endParaRPr>
          </a:p>
          <a:p>
            <a:pPr algn="ctr"/>
            <a:endParaRPr lang="en-US" sz="1600"/>
          </a:p>
          <a:p>
            <a:pPr algn="ctr"/>
            <a:r>
              <a:rPr lang="en-US" sz="1600"/>
              <a:t>Easier transition for the learner.</a:t>
            </a:r>
            <a:endParaRPr lang="en-US" sz="1600">
              <a:cs typeface="Segoe UI"/>
            </a:endParaRPr>
          </a:p>
          <a:p>
            <a:pPr algn="ctr"/>
            <a:endParaRPr lang="en-US" sz="1600"/>
          </a:p>
          <a:p>
            <a:pPr algn="ctr"/>
            <a:r>
              <a:rPr lang="en-US" sz="1600">
                <a:latin typeface="Segoe UI Semibold"/>
                <a:cs typeface="Segoe UI Semibold"/>
              </a:rPr>
              <a:t>Gain insights and data to influence </a:t>
            </a:r>
            <a:br>
              <a:rPr lang="en-US" sz="1600">
                <a:latin typeface="Segoe UI Semibold"/>
              </a:rPr>
            </a:br>
            <a:r>
              <a:rPr lang="en-US" sz="1600">
                <a:latin typeface="Segoe UI Semibold"/>
                <a:cs typeface="Segoe UI Semibold"/>
              </a:rPr>
              <a:t>the future experience.</a:t>
            </a:r>
          </a:p>
        </p:txBody>
      </p:sp>
    </p:spTree>
    <p:extLst>
      <p:ext uri="{BB962C8B-B14F-4D97-AF65-F5344CB8AC3E}">
        <p14:creationId xmlns:p14="http://schemas.microsoft.com/office/powerpoint/2010/main" val="159128528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74B358-2721-4ECC-ACF8-25D309631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0605254" cy="553998"/>
          </a:xfrm>
        </p:spPr>
        <p:txBody>
          <a:bodyPr/>
          <a:lstStyle/>
          <a:p>
            <a:r>
              <a:rPr lang="en-US">
                <a:cs typeface="Segoe UI"/>
              </a:rPr>
              <a:t>Timeline: Core certification experience</a:t>
            </a:r>
            <a:endParaRPr lang="en-US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9A142BCF-27D5-4E25-9A1D-C03FA4292FDA}"/>
              </a:ext>
            </a:extLst>
          </p:cNvPr>
          <p:cNvSpPr/>
          <p:nvPr/>
        </p:nvSpPr>
        <p:spPr bwMode="auto">
          <a:xfrm>
            <a:off x="511030" y="3468269"/>
            <a:ext cx="11236026" cy="115816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646F023-9CBB-43C5-9D74-9BA90BA1A803}"/>
              </a:ext>
            </a:extLst>
          </p:cNvPr>
          <p:cNvSpPr/>
          <p:nvPr/>
        </p:nvSpPr>
        <p:spPr bwMode="auto">
          <a:xfrm>
            <a:off x="2830486" y="3272886"/>
            <a:ext cx="406400" cy="41515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4A30D58-F717-4BD9-A306-827A8FED7701}"/>
              </a:ext>
            </a:extLst>
          </p:cNvPr>
          <p:cNvSpPr txBox="1"/>
          <p:nvPr/>
        </p:nvSpPr>
        <p:spPr>
          <a:xfrm>
            <a:off x="6800935" y="4454188"/>
            <a:ext cx="169526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Future exp. design handoff to DevRel</a:t>
            </a:r>
          </a:p>
          <a:p>
            <a:pPr algn="ctr"/>
            <a:r>
              <a:rPr lang="en-US" sz="1200">
                <a:cs typeface="Segoe UI"/>
              </a:rPr>
              <a:t>March 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702F3F5-3803-4698-B84E-F0337179BDC5}"/>
              </a:ext>
            </a:extLst>
          </p:cNvPr>
          <p:cNvSpPr/>
          <p:nvPr/>
        </p:nvSpPr>
        <p:spPr bwMode="auto">
          <a:xfrm>
            <a:off x="7454102" y="3317427"/>
            <a:ext cx="406400" cy="415159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BDE3B65-CE95-47D4-885A-776FF2873D9D}"/>
              </a:ext>
            </a:extLst>
          </p:cNvPr>
          <p:cNvCxnSpPr>
            <a:cxnSpLocks/>
          </p:cNvCxnSpPr>
          <p:nvPr/>
        </p:nvCxnSpPr>
        <p:spPr>
          <a:xfrm>
            <a:off x="7653386" y="3737294"/>
            <a:ext cx="3504" cy="739229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ED7E422-7932-4ADA-9985-6A1629C04207}"/>
              </a:ext>
            </a:extLst>
          </p:cNvPr>
          <p:cNvSpPr txBox="1"/>
          <p:nvPr/>
        </p:nvSpPr>
        <p:spPr>
          <a:xfrm>
            <a:off x="5080357" y="1898820"/>
            <a:ext cx="193740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Transitional  exp.</a:t>
            </a:r>
          </a:p>
          <a:p>
            <a:pPr algn="ctr"/>
            <a:r>
              <a:rPr lang="en-US" sz="1200" b="1">
                <a:cs typeface="Segoe UI"/>
              </a:rPr>
              <a:t>data measuring</a:t>
            </a:r>
          </a:p>
          <a:p>
            <a:pPr algn="ctr"/>
            <a:r>
              <a:rPr lang="en-US" sz="1200">
                <a:cs typeface="Segoe UI"/>
              </a:rPr>
              <a:t>March-May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584F1D2-8075-4335-B0FF-97566540BF05}"/>
              </a:ext>
            </a:extLst>
          </p:cNvPr>
          <p:cNvSpPr/>
          <p:nvPr/>
        </p:nvSpPr>
        <p:spPr bwMode="auto">
          <a:xfrm>
            <a:off x="5914590" y="3339005"/>
            <a:ext cx="406400" cy="415159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B38BB1D3-146F-4032-A9D8-2BB7990C86F0}"/>
              </a:ext>
            </a:extLst>
          </p:cNvPr>
          <p:cNvCxnSpPr>
            <a:cxnSpLocks/>
          </p:cNvCxnSpPr>
          <p:nvPr/>
        </p:nvCxnSpPr>
        <p:spPr>
          <a:xfrm>
            <a:off x="6106354" y="2571358"/>
            <a:ext cx="3504" cy="75674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C288BF9B-2860-CD42-9F97-EE378A8FAA68}"/>
              </a:ext>
            </a:extLst>
          </p:cNvPr>
          <p:cNvSpPr/>
          <p:nvPr/>
        </p:nvSpPr>
        <p:spPr bwMode="auto">
          <a:xfrm>
            <a:off x="4369998" y="3326189"/>
            <a:ext cx="411480" cy="415159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21C7CEF-CD5C-9044-9CB5-BA72F73125FC}"/>
              </a:ext>
            </a:extLst>
          </p:cNvPr>
          <p:cNvCxnSpPr>
            <a:cxnSpLocks/>
          </p:cNvCxnSpPr>
          <p:nvPr/>
        </p:nvCxnSpPr>
        <p:spPr>
          <a:xfrm>
            <a:off x="4576320" y="3728537"/>
            <a:ext cx="3504" cy="747987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1">
            <a:extLst>
              <a:ext uri="{FF2B5EF4-FFF2-40B4-BE49-F238E27FC236}">
                <a16:creationId xmlns:a16="http://schemas.microsoft.com/office/drawing/2014/main" id="{27A70911-FDA5-1146-BDD9-058D90DF66F7}"/>
              </a:ext>
            </a:extLst>
          </p:cNvPr>
          <p:cNvSpPr txBox="1"/>
          <p:nvPr/>
        </p:nvSpPr>
        <p:spPr>
          <a:xfrm>
            <a:off x="3773590" y="4471707"/>
            <a:ext cx="1595821" cy="36933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>
                <a:cs typeface="Segoe UI"/>
              </a:rPr>
              <a:t>Review Future exp.</a:t>
            </a:r>
          </a:p>
          <a:p>
            <a:pPr algn="ctr"/>
            <a:r>
              <a:rPr lang="en-US" sz="1200">
                <a:cs typeface="Segoe UI"/>
              </a:rPr>
              <a:t>March 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F1432C-7911-2648-8359-51C233A386E8}"/>
              </a:ext>
            </a:extLst>
          </p:cNvPr>
          <p:cNvSpPr txBox="1"/>
          <p:nvPr/>
        </p:nvSpPr>
        <p:spPr>
          <a:xfrm>
            <a:off x="2104065" y="1862858"/>
            <a:ext cx="193740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Implement Transitional </a:t>
            </a:r>
            <a:br>
              <a:rPr lang="en-US" sz="1200" b="1">
                <a:cs typeface="Segoe UI"/>
              </a:rPr>
            </a:br>
            <a:r>
              <a:rPr lang="en-US" sz="1200" b="1">
                <a:cs typeface="Segoe UI"/>
              </a:rPr>
              <a:t>exp. on /Learning</a:t>
            </a:r>
          </a:p>
          <a:p>
            <a:pPr algn="ctr"/>
            <a:r>
              <a:rPr lang="en-US" sz="1200">
                <a:latin typeface="Segoe UI Semilight"/>
                <a:cs typeface="Segoe UI Semilight"/>
              </a:rPr>
              <a:t>March</a:t>
            </a:r>
            <a:endParaRPr lang="en-US" sz="1200">
              <a:cs typeface="Segoe UI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088EE05-A0D7-924D-A270-136650BC2D9F}"/>
              </a:ext>
            </a:extLst>
          </p:cNvPr>
          <p:cNvCxnSpPr>
            <a:cxnSpLocks/>
          </p:cNvCxnSpPr>
          <p:nvPr/>
        </p:nvCxnSpPr>
        <p:spPr>
          <a:xfrm>
            <a:off x="3046935" y="2512305"/>
            <a:ext cx="3504" cy="75674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E36B72A0-E2B6-7446-8651-F94CC78DB04A}"/>
              </a:ext>
            </a:extLst>
          </p:cNvPr>
          <p:cNvSpPr txBox="1"/>
          <p:nvPr/>
        </p:nvSpPr>
        <p:spPr>
          <a:xfrm>
            <a:off x="9875347" y="4429035"/>
            <a:ext cx="169526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Iterate &amp; test </a:t>
            </a:r>
            <a:br>
              <a:rPr lang="en-US" sz="1200" b="1">
                <a:cs typeface="Segoe UI"/>
              </a:rPr>
            </a:br>
            <a:r>
              <a:rPr lang="en-US" sz="1200" b="1">
                <a:cs typeface="Segoe UI"/>
              </a:rPr>
              <a:t>Future exp.</a:t>
            </a:r>
          </a:p>
          <a:p>
            <a:pPr algn="ctr"/>
            <a:r>
              <a:rPr lang="en-US" sz="1200">
                <a:cs typeface="Segoe UI"/>
              </a:rPr>
              <a:t>Ongoing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5D552249-F4E7-D24A-80B6-3735D6FA423F}"/>
              </a:ext>
            </a:extLst>
          </p:cNvPr>
          <p:cNvSpPr/>
          <p:nvPr/>
        </p:nvSpPr>
        <p:spPr bwMode="auto">
          <a:xfrm>
            <a:off x="10533124" y="3292274"/>
            <a:ext cx="406400" cy="415159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F2AA64B-2E5C-B846-A1BD-7170EA278389}"/>
              </a:ext>
            </a:extLst>
          </p:cNvPr>
          <p:cNvCxnSpPr>
            <a:cxnSpLocks/>
          </p:cNvCxnSpPr>
          <p:nvPr/>
        </p:nvCxnSpPr>
        <p:spPr>
          <a:xfrm>
            <a:off x="10727798" y="3712141"/>
            <a:ext cx="3504" cy="739229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46367F3F-2C56-B340-87A1-B94193CF4669}"/>
              </a:ext>
            </a:extLst>
          </p:cNvPr>
          <p:cNvSpPr/>
          <p:nvPr/>
        </p:nvSpPr>
        <p:spPr bwMode="auto">
          <a:xfrm>
            <a:off x="1290974" y="3292274"/>
            <a:ext cx="406400" cy="41515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4E323A1-3179-CD45-BF51-AE50BE654B69}"/>
              </a:ext>
            </a:extLst>
          </p:cNvPr>
          <p:cNvSpPr txBox="1"/>
          <p:nvPr/>
        </p:nvSpPr>
        <p:spPr>
          <a:xfrm>
            <a:off x="629488" y="4424327"/>
            <a:ext cx="169526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Initial user study</a:t>
            </a:r>
          </a:p>
          <a:p>
            <a:pPr algn="ctr"/>
            <a:r>
              <a:rPr lang="en-US" sz="1200" b="1">
                <a:cs typeface="Segoe UI"/>
              </a:rPr>
              <a:t>of Future exp.</a:t>
            </a:r>
          </a:p>
          <a:p>
            <a:pPr algn="ctr"/>
            <a:r>
              <a:rPr lang="en-US" sz="1200">
                <a:cs typeface="Segoe UI"/>
              </a:rPr>
              <a:t>Week 2/25 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6524CEE-737B-5445-B7B6-3695F67C2124}"/>
              </a:ext>
            </a:extLst>
          </p:cNvPr>
          <p:cNvCxnSpPr>
            <a:cxnSpLocks/>
          </p:cNvCxnSpPr>
          <p:nvPr/>
        </p:nvCxnSpPr>
        <p:spPr>
          <a:xfrm>
            <a:off x="1481939" y="3707433"/>
            <a:ext cx="3504" cy="739229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72783A9A-9BAF-004C-82BE-167D4975BDF8}"/>
              </a:ext>
            </a:extLst>
          </p:cNvPr>
          <p:cNvSpPr txBox="1"/>
          <p:nvPr/>
        </p:nvSpPr>
        <p:spPr>
          <a:xfrm>
            <a:off x="8230066" y="1839767"/>
            <a:ext cx="1937407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>
                <a:cs typeface="Segoe UI"/>
              </a:rPr>
              <a:t>Launch Future exp.</a:t>
            </a:r>
          </a:p>
          <a:p>
            <a:pPr algn="ctr"/>
            <a:r>
              <a:rPr lang="en-US" sz="1200" b="1">
                <a:cs typeface="Segoe UI"/>
              </a:rPr>
              <a:t>on Learn</a:t>
            </a:r>
          </a:p>
          <a:p>
            <a:pPr algn="ctr"/>
            <a:r>
              <a:rPr lang="en-US" sz="1200">
                <a:cs typeface="Segoe UI"/>
              </a:rPr>
              <a:t>May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4CA0700-C14D-DC43-803A-AA3A06112715}"/>
              </a:ext>
            </a:extLst>
          </p:cNvPr>
          <p:cNvSpPr/>
          <p:nvPr/>
        </p:nvSpPr>
        <p:spPr bwMode="auto">
          <a:xfrm>
            <a:off x="8993614" y="3279952"/>
            <a:ext cx="406400" cy="4151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28575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DE52CF83-A80A-A547-BAF8-F268EAC052FD}"/>
              </a:ext>
            </a:extLst>
          </p:cNvPr>
          <p:cNvCxnSpPr>
            <a:cxnSpLocks/>
          </p:cNvCxnSpPr>
          <p:nvPr/>
        </p:nvCxnSpPr>
        <p:spPr>
          <a:xfrm>
            <a:off x="9178789" y="2512305"/>
            <a:ext cx="3504" cy="75674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1659856-0749-5B46-9B80-DB6D34BE27E3}"/>
              </a:ext>
            </a:extLst>
          </p:cNvPr>
          <p:cNvSpPr txBox="1"/>
          <p:nvPr/>
        </p:nvSpPr>
        <p:spPr>
          <a:xfrm>
            <a:off x="3278884" y="6198419"/>
            <a:ext cx="55403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orking with Michael Sullivan on workback schedule for all UX items</a:t>
            </a:r>
          </a:p>
          <a:p>
            <a:pPr algn="ctr"/>
            <a:r>
              <a:rPr lang="en-US" sz="1400" i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imeline is consistent with the all-up migration timing</a:t>
            </a:r>
          </a:p>
        </p:txBody>
      </p:sp>
    </p:spTree>
    <p:extLst>
      <p:ext uri="{BB962C8B-B14F-4D97-AF65-F5344CB8AC3E}">
        <p14:creationId xmlns:p14="http://schemas.microsoft.com/office/powerpoint/2010/main" val="359835524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046E3-F35A-D14F-A0A4-DCC8E07EF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74032"/>
            <a:ext cx="10515600" cy="1740555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User flows</a:t>
            </a:r>
          </a:p>
        </p:txBody>
      </p:sp>
    </p:spTree>
    <p:extLst>
      <p:ext uri="{BB962C8B-B14F-4D97-AF65-F5344CB8AC3E}">
        <p14:creationId xmlns:p14="http://schemas.microsoft.com/office/powerpoint/2010/main" val="1346553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Current AWS certification flow </a:t>
            </a:r>
            <a:r>
              <a:rPr lang="en-US" sz="2800" err="1">
                <a:cs typeface="Segoe UI"/>
              </a:rPr>
              <a:t>aws.amazon.com</a:t>
            </a:r>
            <a:r>
              <a:rPr lang="en-US" sz="2800">
                <a:cs typeface="Segoe UI"/>
              </a:rPr>
              <a:t>/certification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4347FD-29A6-C94F-B75F-D3C73CD5DF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350" y="2584450"/>
            <a:ext cx="10909300" cy="168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05492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E1B0F-756E-4E4C-9FD6-E90A84772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457200"/>
            <a:ext cx="11208785" cy="553998"/>
          </a:xfrm>
        </p:spPr>
        <p:txBody>
          <a:bodyPr/>
          <a:lstStyle/>
          <a:p>
            <a:r>
              <a:rPr lang="en-US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Current Microsoft certification flow </a:t>
            </a:r>
            <a:r>
              <a:rPr lang="en-US" sz="2800" err="1">
                <a:cs typeface="Segoe UI"/>
              </a:rPr>
              <a:t>microsoft.com</a:t>
            </a:r>
            <a:r>
              <a:rPr lang="en-US" sz="2800">
                <a:cs typeface="Segoe UI"/>
              </a:rPr>
              <a:t>/learning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98F052-D6D3-9C43-AC71-BEA2C146E02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9204" y="2712648"/>
            <a:ext cx="9486900" cy="201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03187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Azure Theme">
  <a:themeElements>
    <a:clrScheme name="Azure 2018 Q1">
      <a:dk1>
        <a:srgbClr val="FFFFFF"/>
      </a:dk1>
      <a:lt1>
        <a:srgbClr val="414241"/>
      </a:lt1>
      <a:dk2>
        <a:srgbClr val="000000"/>
      </a:dk2>
      <a:lt2>
        <a:srgbClr val="E9E9E9"/>
      </a:lt2>
      <a:accent1>
        <a:srgbClr val="0078D7"/>
      </a:accent1>
      <a:accent2>
        <a:srgbClr val="4DB0FF"/>
      </a:accent2>
      <a:accent3>
        <a:srgbClr val="B1D6F2"/>
      </a:accent3>
      <a:accent4>
        <a:srgbClr val="0359A0"/>
      </a:accent4>
      <a:accent5>
        <a:srgbClr val="8CCAFD"/>
      </a:accent5>
      <a:accent6>
        <a:srgbClr val="797979"/>
      </a:accent6>
      <a:hlink>
        <a:srgbClr val="4CAFFF"/>
      </a:hlink>
      <a:folHlink>
        <a:srgbClr val="0478D6"/>
      </a:folHlink>
    </a:clrScheme>
    <a:fontScheme name="Windows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lIns="0" tIns="0" rIns="0" bIns="0" anchor="t" anchorCtr="0"/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ure Theme" id="{0221592E-2273-49A0-B98B-72B4D01094E5}" vid="{7416F0C0-9F9F-44B7-9C46-3BE0D6EC175F}"/>
    </a:ext>
  </a:extLst>
</a:theme>
</file>

<file path=ppt/theme/theme11.xml><?xml version="1.0" encoding="utf-8"?>
<a:theme xmlns:a="http://schemas.openxmlformats.org/drawingml/2006/main" name="3_Body">
  <a:themeElements>
    <a:clrScheme name="BoD Template Print">
      <a:dk1>
        <a:srgbClr val="000000"/>
      </a:dk1>
      <a:lt1>
        <a:srgbClr val="FFFFFF"/>
      </a:lt1>
      <a:dk2>
        <a:srgbClr val="0072C6"/>
      </a:dk2>
      <a:lt2>
        <a:srgbClr val="D2D2D2"/>
      </a:lt2>
      <a:accent1>
        <a:srgbClr val="00BCF2"/>
      </a:accent1>
      <a:accent2>
        <a:srgbClr val="E2E584"/>
      </a:accent2>
      <a:accent3>
        <a:srgbClr val="0072C6"/>
      </a:accent3>
      <a:accent4>
        <a:srgbClr val="00D8CC"/>
      </a:accent4>
      <a:accent5>
        <a:srgbClr val="969696"/>
      </a:accent5>
      <a:accent6>
        <a:srgbClr val="55D455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8217A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defRPr sz="2400" dirty="0" err="1" smtClean="0">
            <a:gradFill>
              <a:gsLst>
                <a:gs pos="2917">
                  <a:schemeClr val="tx1">
                    <a:lumMod val="65000"/>
                    <a:lumOff val="35000"/>
                  </a:schemeClr>
                </a:gs>
                <a:gs pos="30000">
                  <a:schemeClr val="tx1">
                    <a:lumMod val="65000"/>
                    <a:lumOff val="35000"/>
                  </a:schemeClr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ID Business Briefing Template-Print" id="{F071C4FA-44C0-441C-880C-106D9B5CA088}" vid="{F87760EB-3D34-4B7F-B47A-A81A6EE04DDD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Quote 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4.xml><?xml version="1.0" encoding="utf-8"?>
<a:theme xmlns:a="http://schemas.openxmlformats.org/drawingml/2006/main" name="4_Connect(); //2015">
  <a:themeElements>
    <a:clrScheme name="Custom 2">
      <a:dk1>
        <a:srgbClr val="3C3C3C"/>
      </a:dk1>
      <a:lt1>
        <a:srgbClr val="FFFFFF"/>
      </a:lt1>
      <a:dk2>
        <a:srgbClr val="5C2D91"/>
      </a:dk2>
      <a:lt2>
        <a:srgbClr val="FFFFFF"/>
      </a:lt2>
      <a:accent1>
        <a:srgbClr val="5C2D91"/>
      </a:accent1>
      <a:accent2>
        <a:srgbClr val="0078D7"/>
      </a:accent2>
      <a:accent3>
        <a:srgbClr val="008272"/>
      </a:accent3>
      <a:accent4>
        <a:srgbClr val="00B0F0"/>
      </a:accent4>
      <a:accent5>
        <a:srgbClr val="00B294"/>
      </a:accent5>
      <a:accent6>
        <a:srgbClr val="FFB9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Ed_2014_Template" id="{67FAA352-B2C8-44C1-9D64-1BBF1A5C5A77}" vid="{6DB45715-9256-4D34-9929-871A11C9B374}"/>
    </a:ext>
  </a:extLst>
</a:theme>
</file>

<file path=ppt/theme/theme5.xml><?xml version="1.0" encoding="utf-8"?>
<a:theme xmlns:a="http://schemas.openxmlformats.org/drawingml/2006/main" name="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2018_38.potx" id="{9638C6D4-89C9-4F35-9A2F-B54DC4C2CE53}" vid="{5DBA94B2-CF53-4EA8-AFB2-901B1F77E88F}"/>
    </a:ext>
  </a:extLst>
</a:theme>
</file>

<file path=ppt/theme/theme6.xml><?xml version="1.0" encoding="utf-8"?>
<a:theme xmlns:a="http://schemas.openxmlformats.org/drawingml/2006/main" name="1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  <a:headEnd type="none"/>
          <a:tailEnd type="none" w="lg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3.potx" id="{44ADAFFF-2BB4-4AF1-9F5C-DDE52A28C87A}" vid="{13590B0D-6121-4FDA-8701-382D8D4F2F22}"/>
    </a:ext>
  </a:extLst>
</a:theme>
</file>

<file path=ppt/theme/theme7.xml><?xml version="1.0" encoding="utf-8"?>
<a:theme xmlns:a="http://schemas.openxmlformats.org/drawingml/2006/main" name="3_Modern Workplace 2016">
  <a:themeElements>
    <a:clrScheme name="Custom 10">
      <a:dk1>
        <a:srgbClr val="2C292A"/>
      </a:dk1>
      <a:lt1>
        <a:srgbClr val="F1EFED"/>
      </a:lt1>
      <a:dk2>
        <a:srgbClr val="2C292A"/>
      </a:dk2>
      <a:lt2>
        <a:srgbClr val="FFFFFF"/>
      </a:lt2>
      <a:accent1>
        <a:srgbClr val="D83B01"/>
      </a:accent1>
      <a:accent2>
        <a:srgbClr val="FFC000"/>
      </a:accent2>
      <a:accent3>
        <a:srgbClr val="0078D7"/>
      </a:accent3>
      <a:accent4>
        <a:srgbClr val="2C292A"/>
      </a:accent4>
      <a:accent5>
        <a:srgbClr val="5A5456"/>
      </a:accent5>
      <a:accent6>
        <a:srgbClr val="B2ADAE"/>
      </a:accent6>
      <a:hlink>
        <a:srgbClr val="ED6722"/>
      </a:hlink>
      <a:folHlink>
        <a:srgbClr val="ED672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1.potx" id="{CA9BE438-1B0F-41E9-BD34-9780A77D52B5}" vid="{6EB7C265-9C81-4626-BD14-B5A4426B07BD}"/>
    </a:ext>
  </a:extLst>
</a:theme>
</file>

<file path=ppt/theme/theme8.xml><?xml version="1.0" encoding="utf-8"?>
<a:theme xmlns:a="http://schemas.openxmlformats.org/drawingml/2006/main" name="2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  <a:headEnd type="none"/>
          <a:tailEnd type="none" w="lg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3.potx" id="{44ADAFFF-2BB4-4AF1-9F5C-DDE52A28C87A}" vid="{13590B0D-6121-4FDA-8701-382D8D4F2F22}"/>
    </a:ext>
  </a:extLst>
</a:theme>
</file>

<file path=ppt/theme/theme9.xml><?xml version="1.0" encoding="utf-8"?>
<a:theme xmlns:a="http://schemas.openxmlformats.org/drawingml/2006/main" name="4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  <a:headEnd type="none"/>
          <a:tailEnd type="none" w="lg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3.potx" id="{44ADAFFF-2BB4-4AF1-9F5C-DDE52A28C87A}" vid="{13590B0D-6121-4FDA-8701-382D8D4F2F2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taData xmlns="e3790885-f45e-41f8-8f2d-e73050292f5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079532D2FA6740A501BD21A3AEA1A1" ma:contentTypeVersion="7" ma:contentTypeDescription="Create a new document." ma:contentTypeScope="" ma:versionID="af3609df0f875fd7fe58c70ce023d821">
  <xsd:schema xmlns:xsd="http://www.w3.org/2001/XMLSchema" xmlns:xs="http://www.w3.org/2001/XMLSchema" xmlns:p="http://schemas.microsoft.com/office/2006/metadata/properties" xmlns:ns2="e3790885-f45e-41f8-8f2d-e73050292f59" targetNamespace="http://schemas.microsoft.com/office/2006/metadata/properties" ma:root="true" ma:fieldsID="de311a24fef5d14dc8de50cff7b58cf4" ns2:_="">
    <xsd:import namespace="e3790885-f45e-41f8-8f2d-e73050292f59"/>
    <xsd:element name="properties">
      <xsd:complexType>
        <xsd:sequence>
          <xsd:element name="documentManagement">
            <xsd:complexType>
              <xsd:all>
                <xsd:element ref="ns2:MetaData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90885-f45e-41f8-8f2d-e73050292f59" elementFormDefault="qualified">
    <xsd:import namespace="http://schemas.microsoft.com/office/2006/documentManagement/types"/>
    <xsd:import namespace="http://schemas.microsoft.com/office/infopath/2007/PartnerControls"/>
    <xsd:element name="MetaData" ma:index="8" nillable="true" ma:displayName="MetaData" ma:internalName="MetaData">
      <xsd:simpleType>
        <xsd:restriction base="dms:Not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F3D6D8-5C4C-4DA8-BAFC-EB9B3DF92367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e3790885-f45e-41f8-8f2d-e73050292f59"/>
  </ds:schemaRefs>
</ds:datastoreItem>
</file>

<file path=customXml/itemProps2.xml><?xml version="1.0" encoding="utf-8"?>
<ds:datastoreItem xmlns:ds="http://schemas.openxmlformats.org/officeDocument/2006/customXml" ds:itemID="{1A221AD2-91AC-4326-B0D6-62613E1A9E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790885-f45e-41f8-8f2d-e73050292f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6C5D86-E6C8-45FF-83B7-7E8597B092D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67</Words>
  <Application>Microsoft Macintosh PowerPoint</Application>
  <PresentationFormat>Widescreen</PresentationFormat>
  <Paragraphs>415</Paragraphs>
  <Slides>3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63" baseType="lpstr">
      <vt:lpstr>Arial</vt:lpstr>
      <vt:lpstr>Arial,Sans-Serif</vt:lpstr>
      <vt:lpstr>Calibri</vt:lpstr>
      <vt:lpstr>Calibri Light</vt:lpstr>
      <vt:lpstr>Consolas</vt:lpstr>
      <vt:lpstr>Segoe Pro</vt:lpstr>
      <vt:lpstr>Segoe Pro Semibold</vt:lpstr>
      <vt:lpstr>Segoe Semibold</vt:lpstr>
      <vt:lpstr>Segoe UI</vt:lpstr>
      <vt:lpstr>Segoe UI Light</vt:lpstr>
      <vt:lpstr>Segoe UI Semibold</vt:lpstr>
      <vt:lpstr>Segoe UI Semilight</vt:lpstr>
      <vt:lpstr>Symbol</vt:lpstr>
      <vt:lpstr>Wingdings</vt:lpstr>
      <vt:lpstr>Title Master</vt:lpstr>
      <vt:lpstr>Quote Master</vt:lpstr>
      <vt:lpstr>Office Theme</vt:lpstr>
      <vt:lpstr>4_Connect(); //2015</vt:lpstr>
      <vt:lpstr>WHITE TEMPLATE</vt:lpstr>
      <vt:lpstr>1_WHITE TEMPLATE</vt:lpstr>
      <vt:lpstr>3_Modern Workplace 2016</vt:lpstr>
      <vt:lpstr>2_WHITE TEMPLATE</vt:lpstr>
      <vt:lpstr>4_WHITE TEMPLATE</vt:lpstr>
      <vt:lpstr>Azure Theme</vt:lpstr>
      <vt:lpstr>3_Body</vt:lpstr>
      <vt:lpstr>think-cell Slide</vt:lpstr>
      <vt:lpstr>Core certification experience</vt:lpstr>
      <vt:lpstr>What we will cover</vt:lpstr>
      <vt:lpstr>Goals for the core certification experience</vt:lpstr>
      <vt:lpstr>Context - Audience</vt:lpstr>
      <vt:lpstr>Context - Phasing</vt:lpstr>
      <vt:lpstr>Timeline: Core certification experience</vt:lpstr>
      <vt:lpstr>User flows</vt:lpstr>
      <vt:lpstr>Current AWS certification flow aws.amazon.com/certification</vt:lpstr>
      <vt:lpstr>Current Microsoft certification flow microsoft.com/learning</vt:lpstr>
      <vt:lpstr>Future Microsoft certification flow microsoft.com/learn</vt:lpstr>
      <vt:lpstr>AWS and Microsoft Comparison</vt:lpstr>
      <vt:lpstr>Designs – Content &amp; layout</vt:lpstr>
      <vt:lpstr>AWS &amp; Microsoft content &amp; layout comparison</vt:lpstr>
      <vt:lpstr>AWS content &amp; layout (wireframes)</vt:lpstr>
      <vt:lpstr>Scope – Core certification pages</vt:lpstr>
      <vt:lpstr>Certification overview</vt:lpstr>
      <vt:lpstr>Job role</vt:lpstr>
      <vt:lpstr>Certification path</vt:lpstr>
      <vt:lpstr>Exam</vt:lpstr>
      <vt:lpstr>Browse</vt:lpstr>
      <vt:lpstr>Click through prototype</vt:lpstr>
      <vt:lpstr>Appendix</vt:lpstr>
      <vt:lpstr>Competitive analysis</vt:lpstr>
      <vt:lpstr>Feature comparison for phase 1</vt:lpstr>
      <vt:lpstr>AWS</vt:lpstr>
      <vt:lpstr>Google Cloud</vt:lpstr>
      <vt:lpstr>Trailhead</vt:lpstr>
      <vt:lpstr>What Microsoft is/will be doing better</vt:lpstr>
      <vt:lpstr>User Study</vt:lpstr>
      <vt:lpstr>Highlights from user study</vt:lpstr>
      <vt:lpstr>Transitional experience</vt:lpstr>
      <vt:lpstr>Transitional Microsoft certification flow (Microsoft.com/learning)</vt:lpstr>
      <vt:lpstr>Design &amp; Prototype</vt:lpstr>
      <vt:lpstr>Process</vt:lpstr>
      <vt:lpstr>Co-UX work items</vt:lpstr>
      <vt:lpstr>Co-UX Goals and Work Items Overview</vt:lpstr>
      <vt:lpstr>MS Learn Workstreams Ass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Rationalization and UX update</dc:title>
  <dc:creator>Erin Jacobs</dc:creator>
  <cp:lastModifiedBy>Jason Geiger</cp:lastModifiedBy>
  <cp:revision>1</cp:revision>
  <dcterms:created xsi:type="dcterms:W3CDTF">2018-09-18T19:56:12Z</dcterms:created>
  <dcterms:modified xsi:type="dcterms:W3CDTF">2019-03-04T17:4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edolan@microsoft.com</vt:lpwstr>
  </property>
  <property fmtid="{D5CDD505-2E9C-101B-9397-08002B2CF9AE}" pid="5" name="MSIP_Label_f42aa342-8706-4288-bd11-ebb85995028c_SetDate">
    <vt:lpwstr>2018-09-19T21:55:03.3315518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CA079532D2FA6740A501BD21A3AEA1A1</vt:lpwstr>
  </property>
  <property fmtid="{D5CDD505-2E9C-101B-9397-08002B2CF9AE}" pid="11" name="AuthorIds_UIVersion_134656">
    <vt:lpwstr>59</vt:lpwstr>
  </property>
  <property fmtid="{D5CDD505-2E9C-101B-9397-08002B2CF9AE}" pid="12" name="AuthorIds_UIVersion_135168">
    <vt:lpwstr>59</vt:lpwstr>
  </property>
</Properties>
</file>